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comment1.xml" ContentType="application/vnd.openxmlformats-officedocument.presentationml.comment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49" r:id="rId1"/>
  </p:sldMasterIdLst>
  <p:notesMasterIdLst>
    <p:notesMasterId r:id="rId27"/>
  </p:notesMasterIdLst>
  <p:sldIdLst>
    <p:sldId id="2147375572" r:id="rId2"/>
    <p:sldId id="2147375594" r:id="rId3"/>
    <p:sldId id="7487" r:id="rId4"/>
    <p:sldId id="2147375580" r:id="rId5"/>
    <p:sldId id="2147375570" r:id="rId6"/>
    <p:sldId id="495" r:id="rId7"/>
    <p:sldId id="2147375574" r:id="rId8"/>
    <p:sldId id="2147375575" r:id="rId9"/>
    <p:sldId id="2147375578" r:id="rId10"/>
    <p:sldId id="2147375576" r:id="rId11"/>
    <p:sldId id="2147375579" r:id="rId12"/>
    <p:sldId id="2147375571" r:id="rId13"/>
    <p:sldId id="258" r:id="rId14"/>
    <p:sldId id="2147375582" r:id="rId15"/>
    <p:sldId id="2147375583" r:id="rId16"/>
    <p:sldId id="2147375584" r:id="rId17"/>
    <p:sldId id="2147375581" r:id="rId18"/>
    <p:sldId id="2147375586" r:id="rId19"/>
    <p:sldId id="2147375587" r:id="rId20"/>
    <p:sldId id="2147375585" r:id="rId21"/>
    <p:sldId id="2147375589" r:id="rId22"/>
    <p:sldId id="2147375588" r:id="rId23"/>
    <p:sldId id="2147375592" r:id="rId24"/>
    <p:sldId id="2147375591" r:id="rId25"/>
    <p:sldId id="2147375593" r:id="rId26"/>
  </p:sldIdLst>
  <p:sldSz cx="9144000" cy="5143500" type="screen16x9"/>
  <p:notesSz cx="6858000" cy="9144000"/>
  <p:embeddedFontLst>
    <p:embeddedFont>
      <p:font typeface="Calibri" panose="020F0502020204030204" pitchFamily="34" charset="0"/>
      <p:regular r:id="rId28"/>
      <p:bold r:id="rId29"/>
      <p:italic r:id="rId30"/>
      <p:boldItalic r:id="rId31"/>
    </p:embeddedFont>
    <p:embeddedFont>
      <p:font typeface="Calibri Light" panose="020F0302020204030204" pitchFamily="34" charset="0"/>
      <p:regular r:id="rId32"/>
      <p:italic r:id="rId33"/>
    </p:embeddedFont>
    <p:embeddedFont>
      <p:font typeface="Lato" panose="020F0502020204030203" pitchFamily="34" charset="0"/>
      <p:regular r:id="rId34"/>
      <p:bold r:id="rId35"/>
      <p:italic r:id="rId36"/>
      <p:boldItalic r:id="rId37"/>
    </p:embeddedFont>
    <p:embeddedFont>
      <p:font typeface="Open Sans" panose="020B0606030504020204" pitchFamily="34" charset="0"/>
      <p:regular r:id="rId38"/>
      <p:bold r:id="rId39"/>
      <p:italic r:id="rId40"/>
      <p:boldItalic r:id="rId41"/>
    </p:embeddedFont>
    <p:embeddedFont>
      <p:font typeface="Segoe UI" panose="020B0502040204020203" pitchFamily="34" charset="0"/>
      <p:regular r:id="rId42"/>
      <p:bold r:id="rId43"/>
      <p:italic r:id="rId44"/>
      <p:boldItalic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E078B0-C6CA-4B1B-A7C8-EBBD2CB0E78E}">
          <p14:sldIdLst>
            <p14:sldId id="2147375572"/>
            <p14:sldId id="2147375594"/>
            <p14:sldId id="7487"/>
            <p14:sldId id="2147375580"/>
          </p14:sldIdLst>
        </p14:section>
        <p14:section name="Insights" id="{C92836F4-154B-4612-A4C7-F9AF72807DEB}">
          <p14:sldIdLst>
            <p14:sldId id="2147375570"/>
            <p14:sldId id="495"/>
            <p14:sldId id="2147375574"/>
            <p14:sldId id="2147375575"/>
            <p14:sldId id="2147375578"/>
            <p14:sldId id="2147375576"/>
            <p14:sldId id="2147375579"/>
          </p14:sldIdLst>
        </p14:section>
        <p14:section name="Volume-Price" id="{C98CF702-4DCC-44D9-89A8-2D4D1C19AB7C}">
          <p14:sldIdLst>
            <p14:sldId id="2147375571"/>
            <p14:sldId id="258"/>
            <p14:sldId id="2147375582"/>
          </p14:sldIdLst>
        </p14:section>
        <p14:section name="Forecasting" id="{4E29C766-F093-47E8-9304-4C25A77C1625}">
          <p14:sldIdLst>
            <p14:sldId id="2147375583"/>
            <p14:sldId id="2147375584"/>
            <p14:sldId id="2147375581"/>
            <p14:sldId id="2147375586"/>
            <p14:sldId id="2147375587"/>
          </p14:sldIdLst>
        </p14:section>
        <p14:section name="Optimization" id="{B60493E7-48B0-4B10-A104-272222BF7EEB}">
          <p14:sldIdLst>
            <p14:sldId id="2147375585"/>
            <p14:sldId id="2147375589"/>
            <p14:sldId id="2147375588"/>
            <p14:sldId id="2147375592"/>
            <p14:sldId id="2147375591"/>
            <p14:sldId id="214737559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shor Kukreja" initials="KK" lastIdx="3" clrIdx="0">
    <p:extLst>
      <p:ext uri="{19B8F6BF-5375-455C-9EA6-DF929625EA0E}">
        <p15:presenceInfo xmlns:p15="http://schemas.microsoft.com/office/powerpoint/2012/main" userId="S::kishor.kukreja@fractal.ai::4b679245-99ba-4686-ad2a-c800244b8f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F50"/>
    <a:srgbClr val="FFC000"/>
    <a:srgbClr val="ED7D31"/>
    <a:srgbClr val="4472C4"/>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65E74B-565A-4447-B031-34794DCAFFCE}" v="314" dt="2021-12-13T21:29:46.315"/>
  </p1510:revLst>
</p1510:revInfo>
</file>

<file path=ppt/tableStyles.xml><?xml version="1.0" encoding="utf-8"?>
<a:tblStyleLst xmlns:a="http://schemas.openxmlformats.org/drawingml/2006/main" def="{C07E67D5-F0CA-4AC2-A82E-BAD737913774}">
  <a:tblStyle styleId="{C07E67D5-F0CA-4AC2-A82E-BAD73791377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74DC2B9-5BDD-4407-91D2-44B915FAABC7}" styleName="Table_1">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93" autoAdjust="0"/>
    <p:restoredTop sz="91457" autoAdjust="0"/>
  </p:normalViewPr>
  <p:slideViewPr>
    <p:cSldViewPr snapToGrid="0">
      <p:cViewPr varScale="1">
        <p:scale>
          <a:sx n="99" d="100"/>
          <a:sy n="99" d="100"/>
        </p:scale>
        <p:origin x="1003" y="8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2.fntdata"/><Relationship Id="rId21" Type="http://schemas.openxmlformats.org/officeDocument/2006/relationships/slide" Target="slides/slide20.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2.fntdata"/><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font" Target="fonts/font18.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font" Target="fonts/font9.fntdata"/><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4" Type="http://schemas.openxmlformats.org/officeDocument/2006/relationships/font" Target="fonts/font17.fntdata"/><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font" Target="fonts/font16.fntdata"/><Relationship Id="rId48" Type="http://schemas.openxmlformats.org/officeDocument/2006/relationships/viewProps" Target="viewProps.xml"/><Relationship Id="rId8" Type="http://schemas.openxmlformats.org/officeDocument/2006/relationships/slide" Target="slides/slide7.xml"/><Relationship Id="rId51"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font" Target="fonts/font14.fntdata"/><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shor Kukreja" userId="4b679245-99ba-4686-ad2a-c800244b8fab" providerId="ADAL" clId="{C965E74B-565A-4447-B031-34794DCAFFCE}"/>
    <pc:docChg chg="undo redo custSel addSld delSld modSld sldOrd addSection delSection modSection">
      <pc:chgData name="Kishor Kukreja" userId="4b679245-99ba-4686-ad2a-c800244b8fab" providerId="ADAL" clId="{C965E74B-565A-4447-B031-34794DCAFFCE}" dt="2021-12-13T21:37:55.780" v="8608" actId="14100"/>
      <pc:docMkLst>
        <pc:docMk/>
      </pc:docMkLst>
      <pc:sldChg chg="addSp delSp modSp del mod">
        <pc:chgData name="Kishor Kukreja" userId="4b679245-99ba-4686-ad2a-c800244b8fab" providerId="ADAL" clId="{C965E74B-565A-4447-B031-34794DCAFFCE}" dt="2021-12-13T18:16:54.238" v="2948" actId="47"/>
        <pc:sldMkLst>
          <pc:docMk/>
          <pc:sldMk cId="0" sldId="256"/>
        </pc:sldMkLst>
        <pc:spChg chg="add del mod">
          <ac:chgData name="Kishor Kukreja" userId="4b679245-99ba-4686-ad2a-c800244b8fab" providerId="ADAL" clId="{C965E74B-565A-4447-B031-34794DCAFFCE}" dt="2021-12-13T16:45:20.026" v="12" actId="478"/>
          <ac:spMkLst>
            <pc:docMk/>
            <pc:sldMk cId="0" sldId="256"/>
            <ac:spMk id="3" creationId="{31334938-21AB-47B2-90E7-4EB218F24229}"/>
          </ac:spMkLst>
        </pc:spChg>
        <pc:spChg chg="add del mod">
          <ac:chgData name="Kishor Kukreja" userId="4b679245-99ba-4686-ad2a-c800244b8fab" providerId="ADAL" clId="{C965E74B-565A-4447-B031-34794DCAFFCE}" dt="2021-12-13T16:49:28.386" v="96" actId="478"/>
          <ac:spMkLst>
            <pc:docMk/>
            <pc:sldMk cId="0" sldId="256"/>
            <ac:spMk id="5" creationId="{EFC10768-099A-4413-BF38-F0B334D13FA6}"/>
          </ac:spMkLst>
        </pc:spChg>
        <pc:spChg chg="add del mod">
          <ac:chgData name="Kishor Kukreja" userId="4b679245-99ba-4686-ad2a-c800244b8fab" providerId="ADAL" clId="{C965E74B-565A-4447-B031-34794DCAFFCE}" dt="2021-12-13T16:49:30.904" v="97" actId="478"/>
          <ac:spMkLst>
            <pc:docMk/>
            <pc:sldMk cId="0" sldId="256"/>
            <ac:spMk id="8" creationId="{4F418DFE-B3AF-4DDC-BD21-66628AA50BA3}"/>
          </ac:spMkLst>
        </pc:spChg>
        <pc:spChg chg="add mod">
          <ac:chgData name="Kishor Kukreja" userId="4b679245-99ba-4686-ad2a-c800244b8fab" providerId="ADAL" clId="{C965E74B-565A-4447-B031-34794DCAFFCE}" dt="2021-12-13T17:38:33.695" v="1878" actId="1076"/>
          <ac:spMkLst>
            <pc:docMk/>
            <pc:sldMk cId="0" sldId="256"/>
            <ac:spMk id="10" creationId="{71EC23B2-A6C4-44F7-8C9C-75632482EC11}"/>
          </ac:spMkLst>
        </pc:spChg>
        <pc:spChg chg="add mod">
          <ac:chgData name="Kishor Kukreja" userId="4b679245-99ba-4686-ad2a-c800244b8fab" providerId="ADAL" clId="{C965E74B-565A-4447-B031-34794DCAFFCE}" dt="2021-12-13T17:38:33.695" v="1878" actId="1076"/>
          <ac:spMkLst>
            <pc:docMk/>
            <pc:sldMk cId="0" sldId="256"/>
            <ac:spMk id="11" creationId="{0CC5C9D7-C4EC-4F9A-AC09-2F65F6657D4A}"/>
          </ac:spMkLst>
        </pc:spChg>
        <pc:spChg chg="add mod">
          <ac:chgData name="Kishor Kukreja" userId="4b679245-99ba-4686-ad2a-c800244b8fab" providerId="ADAL" clId="{C965E74B-565A-4447-B031-34794DCAFFCE}" dt="2021-12-13T17:38:33.695" v="1878" actId="1076"/>
          <ac:spMkLst>
            <pc:docMk/>
            <pc:sldMk cId="0" sldId="256"/>
            <ac:spMk id="12" creationId="{952D3DE1-8F1F-45E0-8BA9-4B0B371E9647}"/>
          </ac:spMkLst>
        </pc:spChg>
        <pc:spChg chg="add mod">
          <ac:chgData name="Kishor Kukreja" userId="4b679245-99ba-4686-ad2a-c800244b8fab" providerId="ADAL" clId="{C965E74B-565A-4447-B031-34794DCAFFCE}" dt="2021-12-13T17:38:33.695" v="1878" actId="1076"/>
          <ac:spMkLst>
            <pc:docMk/>
            <pc:sldMk cId="0" sldId="256"/>
            <ac:spMk id="13" creationId="{29EBF4AE-F3F7-4E40-85F2-9314D5BEEC2B}"/>
          </ac:spMkLst>
        </pc:spChg>
        <pc:spChg chg="add del mod">
          <ac:chgData name="Kishor Kukreja" userId="4b679245-99ba-4686-ad2a-c800244b8fab" providerId="ADAL" clId="{C965E74B-565A-4447-B031-34794DCAFFCE}" dt="2021-12-13T16:47:16.836" v="55" actId="478"/>
          <ac:spMkLst>
            <pc:docMk/>
            <pc:sldMk cId="0" sldId="256"/>
            <ac:spMk id="16" creationId="{D608C30D-1A3A-466C-90DE-06B3FF01CCA2}"/>
          </ac:spMkLst>
        </pc:spChg>
        <pc:spChg chg="add del mod">
          <ac:chgData name="Kishor Kukreja" userId="4b679245-99ba-4686-ad2a-c800244b8fab" providerId="ADAL" clId="{C965E74B-565A-4447-B031-34794DCAFFCE}" dt="2021-12-13T16:47:18.643" v="56" actId="478"/>
          <ac:spMkLst>
            <pc:docMk/>
            <pc:sldMk cId="0" sldId="256"/>
            <ac:spMk id="17" creationId="{B2D07F7A-0FBC-4BF8-9178-82DA46E63DE8}"/>
          </ac:spMkLst>
        </pc:spChg>
        <pc:spChg chg="add del mod">
          <ac:chgData name="Kishor Kukreja" userId="4b679245-99ba-4686-ad2a-c800244b8fab" providerId="ADAL" clId="{C965E74B-565A-4447-B031-34794DCAFFCE}" dt="2021-12-13T16:47:19.883" v="57" actId="478"/>
          <ac:spMkLst>
            <pc:docMk/>
            <pc:sldMk cId="0" sldId="256"/>
            <ac:spMk id="18" creationId="{DCF52F84-18AB-407A-83F1-186406CBEDF6}"/>
          </ac:spMkLst>
        </pc:spChg>
        <pc:spChg chg="add del mod">
          <ac:chgData name="Kishor Kukreja" userId="4b679245-99ba-4686-ad2a-c800244b8fab" providerId="ADAL" clId="{C965E74B-565A-4447-B031-34794DCAFFCE}" dt="2021-12-13T16:48:47.224" v="85" actId="478"/>
          <ac:spMkLst>
            <pc:docMk/>
            <pc:sldMk cId="0" sldId="256"/>
            <ac:spMk id="20" creationId="{DA45DC46-5F78-460F-ADC8-3EBF9663EBC2}"/>
          </ac:spMkLst>
        </pc:spChg>
        <pc:spChg chg="add del mod">
          <ac:chgData name="Kishor Kukreja" userId="4b679245-99ba-4686-ad2a-c800244b8fab" providerId="ADAL" clId="{C965E74B-565A-4447-B031-34794DCAFFCE}" dt="2021-12-13T16:47:10.663" v="53" actId="478"/>
          <ac:spMkLst>
            <pc:docMk/>
            <pc:sldMk cId="0" sldId="256"/>
            <ac:spMk id="22" creationId="{D9E86A95-4EF3-4627-99FE-E3259BCA2C58}"/>
          </ac:spMkLst>
        </pc:spChg>
        <pc:spChg chg="add del mod">
          <ac:chgData name="Kishor Kukreja" userId="4b679245-99ba-4686-ad2a-c800244b8fab" providerId="ADAL" clId="{C965E74B-565A-4447-B031-34794DCAFFCE}" dt="2021-12-13T16:47:09.291" v="52" actId="478"/>
          <ac:spMkLst>
            <pc:docMk/>
            <pc:sldMk cId="0" sldId="256"/>
            <ac:spMk id="23" creationId="{8F652086-7BD0-43E4-88D6-9F58C1CAFB43}"/>
          </ac:spMkLst>
        </pc:spChg>
        <pc:spChg chg="add del mod">
          <ac:chgData name="Kishor Kukreja" userId="4b679245-99ba-4686-ad2a-c800244b8fab" providerId="ADAL" clId="{C965E74B-565A-4447-B031-34794DCAFFCE}" dt="2021-12-13T16:47:12.882" v="54" actId="478"/>
          <ac:spMkLst>
            <pc:docMk/>
            <pc:sldMk cId="0" sldId="256"/>
            <ac:spMk id="24" creationId="{644AB24C-DD4F-4E7A-9412-4D9405599203}"/>
          </ac:spMkLst>
        </pc:spChg>
        <pc:spChg chg="add del mod">
          <ac:chgData name="Kishor Kukreja" userId="4b679245-99ba-4686-ad2a-c800244b8fab" providerId="ADAL" clId="{C965E74B-565A-4447-B031-34794DCAFFCE}" dt="2021-12-13T16:49:02.140" v="88" actId="478"/>
          <ac:spMkLst>
            <pc:docMk/>
            <pc:sldMk cId="0" sldId="256"/>
            <ac:spMk id="27" creationId="{ED3AC41F-66D9-4CC2-8ED1-964960E22F5B}"/>
          </ac:spMkLst>
        </pc:spChg>
        <pc:spChg chg="add mod">
          <ac:chgData name="Kishor Kukreja" userId="4b679245-99ba-4686-ad2a-c800244b8fab" providerId="ADAL" clId="{C965E74B-565A-4447-B031-34794DCAFFCE}" dt="2021-12-13T17:38:33.695" v="1878" actId="1076"/>
          <ac:spMkLst>
            <pc:docMk/>
            <pc:sldMk cId="0" sldId="256"/>
            <ac:spMk id="28" creationId="{15BB34EB-2E37-400B-9956-ABC4CADC93FF}"/>
          </ac:spMkLst>
        </pc:spChg>
        <pc:spChg chg="add del mod">
          <ac:chgData name="Kishor Kukreja" userId="4b679245-99ba-4686-ad2a-c800244b8fab" providerId="ADAL" clId="{C965E74B-565A-4447-B031-34794DCAFFCE}" dt="2021-12-13T16:47:01.119" v="47" actId="478"/>
          <ac:spMkLst>
            <pc:docMk/>
            <pc:sldMk cId="0" sldId="256"/>
            <ac:spMk id="29" creationId="{C0B739E3-5B35-4B99-B220-428E0DE873AA}"/>
          </ac:spMkLst>
        </pc:spChg>
        <pc:spChg chg="add del mod">
          <ac:chgData name="Kishor Kukreja" userId="4b679245-99ba-4686-ad2a-c800244b8fab" providerId="ADAL" clId="{C965E74B-565A-4447-B031-34794DCAFFCE}" dt="2021-12-13T16:49:00.308" v="87" actId="478"/>
          <ac:spMkLst>
            <pc:docMk/>
            <pc:sldMk cId="0" sldId="256"/>
            <ac:spMk id="30" creationId="{3F0CC1A7-5F9A-42CF-8978-321B4AA83C6B}"/>
          </ac:spMkLst>
        </pc:spChg>
        <pc:spChg chg="add mod">
          <ac:chgData name="Kishor Kukreja" userId="4b679245-99ba-4686-ad2a-c800244b8fab" providerId="ADAL" clId="{C965E74B-565A-4447-B031-34794DCAFFCE}" dt="2021-12-13T17:38:33.695" v="1878" actId="1076"/>
          <ac:spMkLst>
            <pc:docMk/>
            <pc:sldMk cId="0" sldId="256"/>
            <ac:spMk id="31" creationId="{E91EC7D0-FD7C-47BD-A6E3-4078F7A6BBCE}"/>
          </ac:spMkLst>
        </pc:spChg>
        <pc:spChg chg="add del mod">
          <ac:chgData name="Kishor Kukreja" userId="4b679245-99ba-4686-ad2a-c800244b8fab" providerId="ADAL" clId="{C965E74B-565A-4447-B031-34794DCAFFCE}" dt="2021-12-13T16:47:06.772" v="50" actId="478"/>
          <ac:spMkLst>
            <pc:docMk/>
            <pc:sldMk cId="0" sldId="256"/>
            <ac:spMk id="32" creationId="{CCB00341-82B2-45A7-8A56-5187FB439F57}"/>
          </ac:spMkLst>
        </pc:spChg>
        <pc:spChg chg="add del mod">
          <ac:chgData name="Kishor Kukreja" userId="4b679245-99ba-4686-ad2a-c800244b8fab" providerId="ADAL" clId="{C965E74B-565A-4447-B031-34794DCAFFCE}" dt="2021-12-13T16:48:04.398" v="72" actId="478"/>
          <ac:spMkLst>
            <pc:docMk/>
            <pc:sldMk cId="0" sldId="256"/>
            <ac:spMk id="33" creationId="{997505E3-6CB2-4F28-8358-A3DBA668D669}"/>
          </ac:spMkLst>
        </pc:spChg>
        <pc:spChg chg="add del mod">
          <ac:chgData name="Kishor Kukreja" userId="4b679245-99ba-4686-ad2a-c800244b8fab" providerId="ADAL" clId="{C965E74B-565A-4447-B031-34794DCAFFCE}" dt="2021-12-13T17:38:46.273" v="1881" actId="478"/>
          <ac:spMkLst>
            <pc:docMk/>
            <pc:sldMk cId="0" sldId="256"/>
            <ac:spMk id="34" creationId="{D6BF432E-3A2D-4EAC-AD52-99B4B1772418}"/>
          </ac:spMkLst>
        </pc:spChg>
        <pc:spChg chg="add mod">
          <ac:chgData name="Kishor Kukreja" userId="4b679245-99ba-4686-ad2a-c800244b8fab" providerId="ADAL" clId="{C965E74B-565A-4447-B031-34794DCAFFCE}" dt="2021-12-13T17:38:58.614" v="1887" actId="1076"/>
          <ac:spMkLst>
            <pc:docMk/>
            <pc:sldMk cId="0" sldId="256"/>
            <ac:spMk id="35" creationId="{3DC5770E-73E7-4A6D-9220-A69396D26714}"/>
          </ac:spMkLst>
        </pc:spChg>
        <pc:spChg chg="mod">
          <ac:chgData name="Kishor Kukreja" userId="4b679245-99ba-4686-ad2a-c800244b8fab" providerId="ADAL" clId="{C965E74B-565A-4447-B031-34794DCAFFCE}" dt="2021-12-13T17:38:33.695" v="1878" actId="1076"/>
          <ac:spMkLst>
            <pc:docMk/>
            <pc:sldMk cId="0" sldId="256"/>
            <ac:spMk id="59" creationId="{00000000-0000-0000-0000-000000000000}"/>
          </ac:spMkLst>
        </pc:spChg>
        <pc:spChg chg="del mod">
          <ac:chgData name="Kishor Kukreja" userId="4b679245-99ba-4686-ad2a-c800244b8fab" providerId="ADAL" clId="{C965E74B-565A-4447-B031-34794DCAFFCE}" dt="2021-12-13T16:45:55.863" v="41" actId="478"/>
          <ac:spMkLst>
            <pc:docMk/>
            <pc:sldMk cId="0" sldId="256"/>
            <ac:spMk id="60" creationId="{00000000-0000-0000-0000-000000000000}"/>
          </ac:spMkLst>
        </pc:spChg>
        <pc:spChg chg="del mod">
          <ac:chgData name="Kishor Kukreja" userId="4b679245-99ba-4686-ad2a-c800244b8fab" providerId="ADAL" clId="{C965E74B-565A-4447-B031-34794DCAFFCE}" dt="2021-12-13T16:45:18.334" v="11" actId="478"/>
          <ac:spMkLst>
            <pc:docMk/>
            <pc:sldMk cId="0" sldId="256"/>
            <ac:spMk id="61" creationId="{00000000-0000-0000-0000-000000000000}"/>
          </ac:spMkLst>
        </pc:spChg>
        <pc:picChg chg="add del mod">
          <ac:chgData name="Kishor Kukreja" userId="4b679245-99ba-4686-ad2a-c800244b8fab" providerId="ADAL" clId="{C965E74B-565A-4447-B031-34794DCAFFCE}" dt="2021-12-13T16:48:45.619" v="84" actId="478"/>
          <ac:picMkLst>
            <pc:docMk/>
            <pc:sldMk cId="0" sldId="256"/>
            <ac:picMk id="9" creationId="{4EB5D7E7-2281-4255-9C1B-3AE2C45FA617}"/>
          </ac:picMkLst>
        </pc:picChg>
        <pc:picChg chg="add del mod">
          <ac:chgData name="Kishor Kukreja" userId="4b679245-99ba-4686-ad2a-c800244b8fab" providerId="ADAL" clId="{C965E74B-565A-4447-B031-34794DCAFFCE}" dt="2021-12-13T16:48:45.619" v="84" actId="478"/>
          <ac:picMkLst>
            <pc:docMk/>
            <pc:sldMk cId="0" sldId="256"/>
            <ac:picMk id="14" creationId="{452790B0-047D-4C0A-970A-B1030AFACB1F}"/>
          </ac:picMkLst>
        </pc:picChg>
        <pc:picChg chg="add mod">
          <ac:chgData name="Kishor Kukreja" userId="4b679245-99ba-4686-ad2a-c800244b8fab" providerId="ADAL" clId="{C965E74B-565A-4447-B031-34794DCAFFCE}" dt="2021-12-13T17:38:33.695" v="1878" actId="1076"/>
          <ac:picMkLst>
            <pc:docMk/>
            <pc:sldMk cId="0" sldId="256"/>
            <ac:picMk id="15" creationId="{99F84331-0445-40A8-93F5-C7A5EB955B8D}"/>
          </ac:picMkLst>
        </pc:picChg>
        <pc:picChg chg="add del mod">
          <ac:chgData name="Kishor Kukreja" userId="4b679245-99ba-4686-ad2a-c800244b8fab" providerId="ADAL" clId="{C965E74B-565A-4447-B031-34794DCAFFCE}" dt="2021-12-13T16:47:52.722" v="68" actId="478"/>
          <ac:picMkLst>
            <pc:docMk/>
            <pc:sldMk cId="0" sldId="256"/>
            <ac:picMk id="19" creationId="{24E02FE7-C4E3-45D5-A0A3-294309A1FF58}"/>
          </ac:picMkLst>
        </pc:picChg>
        <pc:picChg chg="add del mod">
          <ac:chgData name="Kishor Kukreja" userId="4b679245-99ba-4686-ad2a-c800244b8fab" providerId="ADAL" clId="{C965E74B-565A-4447-B031-34794DCAFFCE}" dt="2021-12-13T17:38:52.909" v="1885" actId="478"/>
          <ac:picMkLst>
            <pc:docMk/>
            <pc:sldMk cId="0" sldId="256"/>
            <ac:picMk id="21" creationId="{598EBF30-3589-495C-9DD4-5D3151448D9F}"/>
          </ac:picMkLst>
        </pc:picChg>
        <pc:picChg chg="add mod">
          <ac:chgData name="Kishor Kukreja" userId="4b679245-99ba-4686-ad2a-c800244b8fab" providerId="ADAL" clId="{C965E74B-565A-4447-B031-34794DCAFFCE}" dt="2021-12-13T17:38:54.541" v="1886" actId="1076"/>
          <ac:picMkLst>
            <pc:docMk/>
            <pc:sldMk cId="0" sldId="256"/>
            <ac:picMk id="25" creationId="{351D385C-7C8D-4A98-8F09-682871D749B4}"/>
          </ac:picMkLst>
        </pc:picChg>
        <pc:picChg chg="add del mod">
          <ac:chgData name="Kishor Kukreja" userId="4b679245-99ba-4686-ad2a-c800244b8fab" providerId="ADAL" clId="{C965E74B-565A-4447-B031-34794DCAFFCE}" dt="2021-12-13T16:47:23.279" v="60" actId="478"/>
          <ac:picMkLst>
            <pc:docMk/>
            <pc:sldMk cId="0" sldId="256"/>
            <ac:picMk id="26" creationId="{5EE4A8C4-0E82-42F3-857D-91ADE9051336}"/>
          </ac:picMkLst>
        </pc:picChg>
        <pc:picChg chg="add mod">
          <ac:chgData name="Kishor Kukreja" userId="4b679245-99ba-4686-ad2a-c800244b8fab" providerId="ADAL" clId="{C965E74B-565A-4447-B031-34794DCAFFCE}" dt="2021-12-13T17:39:03.819" v="1889" actId="14100"/>
          <ac:picMkLst>
            <pc:docMk/>
            <pc:sldMk cId="0" sldId="256"/>
            <ac:picMk id="39" creationId="{5FB7C83C-D8E8-4BD0-9944-649564DDA67E}"/>
          </ac:picMkLst>
        </pc:picChg>
      </pc:sldChg>
      <pc:sldChg chg="del ord">
        <pc:chgData name="Kishor Kukreja" userId="4b679245-99ba-4686-ad2a-c800244b8fab" providerId="ADAL" clId="{C965E74B-565A-4447-B031-34794DCAFFCE}" dt="2021-12-13T18:35:09.700" v="3846" actId="47"/>
        <pc:sldMkLst>
          <pc:docMk/>
          <pc:sldMk cId="0" sldId="257"/>
        </pc:sldMkLst>
      </pc:sldChg>
      <pc:sldChg chg="addSp delSp modSp mod ord modClrScheme chgLayout">
        <pc:chgData name="Kishor Kukreja" userId="4b679245-99ba-4686-ad2a-c800244b8fab" providerId="ADAL" clId="{C965E74B-565A-4447-B031-34794DCAFFCE}" dt="2021-12-13T21:22:59.264" v="8467"/>
        <pc:sldMkLst>
          <pc:docMk/>
          <pc:sldMk cId="0" sldId="258"/>
        </pc:sldMkLst>
        <pc:spChg chg="add del mod ord">
          <ac:chgData name="Kishor Kukreja" userId="4b679245-99ba-4686-ad2a-c800244b8fab" providerId="ADAL" clId="{C965E74B-565A-4447-B031-34794DCAFFCE}" dt="2021-12-13T19:10:15.514" v="4755" actId="700"/>
          <ac:spMkLst>
            <pc:docMk/>
            <pc:sldMk cId="0" sldId="258"/>
            <ac:spMk id="2" creationId="{59E960DC-5565-4028-91F4-303A7F393B78}"/>
          </ac:spMkLst>
        </pc:spChg>
        <pc:spChg chg="add del mod ord">
          <ac:chgData name="Kishor Kukreja" userId="4b679245-99ba-4686-ad2a-c800244b8fab" providerId="ADAL" clId="{C965E74B-565A-4447-B031-34794DCAFFCE}" dt="2021-12-13T19:09:59.569" v="4751" actId="700"/>
          <ac:spMkLst>
            <pc:docMk/>
            <pc:sldMk cId="0" sldId="258"/>
            <ac:spMk id="3" creationId="{8C7E67A6-DFC6-41C4-8E88-5973B86C4809}"/>
          </ac:spMkLst>
        </pc:spChg>
        <pc:spChg chg="add del mod ord">
          <ac:chgData name="Kishor Kukreja" userId="4b679245-99ba-4686-ad2a-c800244b8fab" providerId="ADAL" clId="{C965E74B-565A-4447-B031-34794DCAFFCE}" dt="2021-12-13T19:09:59.569" v="4751" actId="700"/>
          <ac:spMkLst>
            <pc:docMk/>
            <pc:sldMk cId="0" sldId="258"/>
            <ac:spMk id="4" creationId="{D89ABC1D-0A0C-4F30-BCE9-CF50DE05E728}"/>
          </ac:spMkLst>
        </pc:spChg>
        <pc:spChg chg="add del mod ord">
          <ac:chgData name="Kishor Kukreja" userId="4b679245-99ba-4686-ad2a-c800244b8fab" providerId="ADAL" clId="{C965E74B-565A-4447-B031-34794DCAFFCE}" dt="2021-12-13T19:09:59.569" v="4751" actId="700"/>
          <ac:spMkLst>
            <pc:docMk/>
            <pc:sldMk cId="0" sldId="258"/>
            <ac:spMk id="5" creationId="{94C26D9A-BE97-42B5-9F88-766F9E720A85}"/>
          </ac:spMkLst>
        </pc:spChg>
        <pc:spChg chg="add del mod ord">
          <ac:chgData name="Kishor Kukreja" userId="4b679245-99ba-4686-ad2a-c800244b8fab" providerId="ADAL" clId="{C965E74B-565A-4447-B031-34794DCAFFCE}" dt="2021-12-13T19:09:59.569" v="4751" actId="700"/>
          <ac:spMkLst>
            <pc:docMk/>
            <pc:sldMk cId="0" sldId="258"/>
            <ac:spMk id="6" creationId="{39D0940D-2A0A-4C07-B582-3ACD94B89BA2}"/>
          </ac:spMkLst>
        </pc:spChg>
        <pc:spChg chg="add del mod ord">
          <ac:chgData name="Kishor Kukreja" userId="4b679245-99ba-4686-ad2a-c800244b8fab" providerId="ADAL" clId="{C965E74B-565A-4447-B031-34794DCAFFCE}" dt="2021-12-13T19:09:59.569" v="4751" actId="700"/>
          <ac:spMkLst>
            <pc:docMk/>
            <pc:sldMk cId="0" sldId="258"/>
            <ac:spMk id="7" creationId="{416B1B03-6634-4DBB-9118-8776286635B5}"/>
          </ac:spMkLst>
        </pc:spChg>
        <pc:spChg chg="add mod ord">
          <ac:chgData name="Kishor Kukreja" userId="4b679245-99ba-4686-ad2a-c800244b8fab" providerId="ADAL" clId="{C965E74B-565A-4447-B031-34794DCAFFCE}" dt="2021-12-13T19:17:55.249" v="5114" actId="1076"/>
          <ac:spMkLst>
            <pc:docMk/>
            <pc:sldMk cId="0" sldId="258"/>
            <ac:spMk id="8" creationId="{087E3C6D-4F35-4B91-A8D2-C5CA64A080A3}"/>
          </ac:spMkLst>
        </pc:spChg>
        <pc:spChg chg="add mod ord">
          <ac:chgData name="Kishor Kukreja" userId="4b679245-99ba-4686-ad2a-c800244b8fab" providerId="ADAL" clId="{C965E74B-565A-4447-B031-34794DCAFFCE}" dt="2021-12-13T19:21:56.781" v="5639" actId="14100"/>
          <ac:spMkLst>
            <pc:docMk/>
            <pc:sldMk cId="0" sldId="258"/>
            <ac:spMk id="9" creationId="{55C7352F-88EC-458D-8BB6-1F84931A90FB}"/>
          </ac:spMkLst>
        </pc:spChg>
        <pc:spChg chg="add del mod ord">
          <ac:chgData name="Kishor Kukreja" userId="4b679245-99ba-4686-ad2a-c800244b8fab" providerId="ADAL" clId="{C965E74B-565A-4447-B031-34794DCAFFCE}" dt="2021-12-13T19:14:57.425" v="5063" actId="700"/>
          <ac:spMkLst>
            <pc:docMk/>
            <pc:sldMk cId="0" sldId="258"/>
            <ac:spMk id="10" creationId="{CAE8E8E9-01FE-4685-91E4-430BFB10AD46}"/>
          </ac:spMkLst>
        </pc:spChg>
        <pc:spChg chg="add mod ord">
          <ac:chgData name="Kishor Kukreja" userId="4b679245-99ba-4686-ad2a-c800244b8fab" providerId="ADAL" clId="{C965E74B-565A-4447-B031-34794DCAFFCE}" dt="2021-12-13T19:21:50.059" v="5638" actId="20577"/>
          <ac:spMkLst>
            <pc:docMk/>
            <pc:sldMk cId="0" sldId="258"/>
            <ac:spMk id="11" creationId="{4A6559A2-AD39-4702-9265-1E67064DF487}"/>
          </ac:spMkLst>
        </pc:spChg>
        <pc:spChg chg="add del mod ord">
          <ac:chgData name="Kishor Kukreja" userId="4b679245-99ba-4686-ad2a-c800244b8fab" providerId="ADAL" clId="{C965E74B-565A-4447-B031-34794DCAFFCE}" dt="2021-12-13T19:14:57.425" v="5063" actId="700"/>
          <ac:spMkLst>
            <pc:docMk/>
            <pc:sldMk cId="0" sldId="258"/>
            <ac:spMk id="12" creationId="{BE4FC617-25E7-448A-9630-0E78E5CF4A0B}"/>
          </ac:spMkLst>
        </pc:spChg>
        <pc:spChg chg="add del mod ord">
          <ac:chgData name="Kishor Kukreja" userId="4b679245-99ba-4686-ad2a-c800244b8fab" providerId="ADAL" clId="{C965E74B-565A-4447-B031-34794DCAFFCE}" dt="2021-12-13T19:14:57.425" v="5063" actId="700"/>
          <ac:spMkLst>
            <pc:docMk/>
            <pc:sldMk cId="0" sldId="258"/>
            <ac:spMk id="13" creationId="{A13CF78C-A797-437D-BA15-AA4702123B81}"/>
          </ac:spMkLst>
        </pc:spChg>
        <pc:spChg chg="add del mod ord">
          <ac:chgData name="Kishor Kukreja" userId="4b679245-99ba-4686-ad2a-c800244b8fab" providerId="ADAL" clId="{C965E74B-565A-4447-B031-34794DCAFFCE}" dt="2021-12-13T19:15:40.554" v="5073" actId="478"/>
          <ac:spMkLst>
            <pc:docMk/>
            <pc:sldMk cId="0" sldId="258"/>
            <ac:spMk id="16" creationId="{ACD99A45-09D7-4516-8542-C8BC35C23B9F}"/>
          </ac:spMkLst>
        </pc:spChg>
        <pc:spChg chg="add del mod ord">
          <ac:chgData name="Kishor Kukreja" userId="4b679245-99ba-4686-ad2a-c800244b8fab" providerId="ADAL" clId="{C965E74B-565A-4447-B031-34794DCAFFCE}" dt="2021-12-13T19:16:13.027" v="5081" actId="478"/>
          <ac:spMkLst>
            <pc:docMk/>
            <pc:sldMk cId="0" sldId="258"/>
            <ac:spMk id="17" creationId="{F9F791D3-2B66-4CF6-9040-48962274E1B4}"/>
          </ac:spMkLst>
        </pc:spChg>
        <pc:spChg chg="add mod ord">
          <ac:chgData name="Kishor Kukreja" userId="4b679245-99ba-4686-ad2a-c800244b8fab" providerId="ADAL" clId="{C965E74B-565A-4447-B031-34794DCAFFCE}" dt="2021-12-13T19:18:00.026" v="5116" actId="1076"/>
          <ac:spMkLst>
            <pc:docMk/>
            <pc:sldMk cId="0" sldId="258"/>
            <ac:spMk id="18" creationId="{073C563E-C0EA-4AD4-A968-2571A803190A}"/>
          </ac:spMkLst>
        </pc:spChg>
        <pc:spChg chg="add mod ord">
          <ac:chgData name="Kishor Kukreja" userId="4b679245-99ba-4686-ad2a-c800244b8fab" providerId="ADAL" clId="{C965E74B-565A-4447-B031-34794DCAFFCE}" dt="2021-12-13T19:16:28.624" v="5086" actId="6549"/>
          <ac:spMkLst>
            <pc:docMk/>
            <pc:sldMk cId="0" sldId="258"/>
            <ac:spMk id="25" creationId="{FD0B379E-0847-4905-9636-0D3FCCFA5374}"/>
          </ac:spMkLst>
        </pc:spChg>
        <pc:spChg chg="add mod">
          <ac:chgData name="Kishor Kukreja" userId="4b679245-99ba-4686-ad2a-c800244b8fab" providerId="ADAL" clId="{C965E74B-565A-4447-B031-34794DCAFFCE}" dt="2021-12-13T19:17:57.202" v="5115" actId="1076"/>
          <ac:spMkLst>
            <pc:docMk/>
            <pc:sldMk cId="0" sldId="258"/>
            <ac:spMk id="26" creationId="{6BF9CFE2-9AF6-4B14-9F10-360E41074299}"/>
          </ac:spMkLst>
        </pc:spChg>
        <pc:spChg chg="del mod ord">
          <ac:chgData name="Kishor Kukreja" userId="4b679245-99ba-4686-ad2a-c800244b8fab" providerId="ADAL" clId="{C965E74B-565A-4447-B031-34794DCAFFCE}" dt="2021-12-13T19:10:27.906" v="4759" actId="478"/>
          <ac:spMkLst>
            <pc:docMk/>
            <pc:sldMk cId="0" sldId="258"/>
            <ac:spMk id="81" creationId="{00000000-0000-0000-0000-000000000000}"/>
          </ac:spMkLst>
        </pc:spChg>
        <pc:spChg chg="del mod ord">
          <ac:chgData name="Kishor Kukreja" userId="4b679245-99ba-4686-ad2a-c800244b8fab" providerId="ADAL" clId="{C965E74B-565A-4447-B031-34794DCAFFCE}" dt="2021-12-13T19:10:15.514" v="4755" actId="700"/>
          <ac:spMkLst>
            <pc:docMk/>
            <pc:sldMk cId="0" sldId="258"/>
            <ac:spMk id="82" creationId="{00000000-0000-0000-0000-000000000000}"/>
          </ac:spMkLst>
        </pc:spChg>
        <pc:spChg chg="del">
          <ac:chgData name="Kishor Kukreja" userId="4b679245-99ba-4686-ad2a-c800244b8fab" providerId="ADAL" clId="{C965E74B-565A-4447-B031-34794DCAFFCE}" dt="2021-12-13T19:10:08.565" v="4753" actId="478"/>
          <ac:spMkLst>
            <pc:docMk/>
            <pc:sldMk cId="0" sldId="258"/>
            <ac:spMk id="85" creationId="{00000000-0000-0000-0000-000000000000}"/>
          </ac:spMkLst>
        </pc:spChg>
        <pc:spChg chg="del">
          <ac:chgData name="Kishor Kukreja" userId="4b679245-99ba-4686-ad2a-c800244b8fab" providerId="ADAL" clId="{C965E74B-565A-4447-B031-34794DCAFFCE}" dt="2021-12-13T19:10:10.372" v="4754" actId="478"/>
          <ac:spMkLst>
            <pc:docMk/>
            <pc:sldMk cId="0" sldId="258"/>
            <ac:spMk id="86" creationId="{00000000-0000-0000-0000-000000000000}"/>
          </ac:spMkLst>
        </pc:spChg>
        <pc:picChg chg="add del mod">
          <ac:chgData name="Kishor Kukreja" userId="4b679245-99ba-4686-ad2a-c800244b8fab" providerId="ADAL" clId="{C965E74B-565A-4447-B031-34794DCAFFCE}" dt="2021-12-13T19:18:03.832" v="5117" actId="478"/>
          <ac:picMkLst>
            <pc:docMk/>
            <pc:sldMk cId="0" sldId="258"/>
            <ac:picMk id="15" creationId="{F970895B-0ED4-47C1-A10F-377BDE717812}"/>
          </ac:picMkLst>
        </pc:picChg>
        <pc:picChg chg="add mod">
          <ac:chgData name="Kishor Kukreja" userId="4b679245-99ba-4686-ad2a-c800244b8fab" providerId="ADAL" clId="{C965E74B-565A-4447-B031-34794DCAFFCE}" dt="2021-12-13T20:14:13.786" v="6731"/>
          <ac:picMkLst>
            <pc:docMk/>
            <pc:sldMk cId="0" sldId="258"/>
            <ac:picMk id="27" creationId="{B28965D3-543A-4CAC-97C0-5691B84313B6}"/>
          </ac:picMkLst>
        </pc:picChg>
        <pc:picChg chg="add del mod">
          <ac:chgData name="Kishor Kukreja" userId="4b679245-99ba-4686-ad2a-c800244b8fab" providerId="ADAL" clId="{C965E74B-565A-4447-B031-34794DCAFFCE}" dt="2021-12-13T21:22:59.264" v="8467"/>
          <ac:picMkLst>
            <pc:docMk/>
            <pc:sldMk cId="0" sldId="258"/>
            <ac:picMk id="28" creationId="{C74E31B5-9280-4F63-B072-7D6C8F15E845}"/>
          </ac:picMkLst>
        </pc:picChg>
        <pc:picChg chg="del">
          <ac:chgData name="Kishor Kukreja" userId="4b679245-99ba-4686-ad2a-c800244b8fab" providerId="ADAL" clId="{C965E74B-565A-4447-B031-34794DCAFFCE}" dt="2021-12-13T19:09:09.477" v="4744" actId="478"/>
          <ac:picMkLst>
            <pc:docMk/>
            <pc:sldMk cId="0" sldId="258"/>
            <ac:picMk id="83" creationId="{00000000-0000-0000-0000-000000000000}"/>
          </ac:picMkLst>
        </pc:picChg>
        <pc:picChg chg="del">
          <ac:chgData name="Kishor Kukreja" userId="4b679245-99ba-4686-ad2a-c800244b8fab" providerId="ADAL" clId="{C965E74B-565A-4447-B031-34794DCAFFCE}" dt="2021-12-13T19:09:08.804" v="4743" actId="478"/>
          <ac:picMkLst>
            <pc:docMk/>
            <pc:sldMk cId="0" sldId="258"/>
            <ac:picMk id="84" creationId="{00000000-0000-0000-0000-000000000000}"/>
          </ac:picMkLst>
        </pc:picChg>
      </pc:sldChg>
      <pc:sldChg chg="del ord">
        <pc:chgData name="Kishor Kukreja" userId="4b679245-99ba-4686-ad2a-c800244b8fab" providerId="ADAL" clId="{C965E74B-565A-4447-B031-34794DCAFFCE}" dt="2021-12-13T18:36:08.958" v="3858" actId="47"/>
        <pc:sldMkLst>
          <pc:docMk/>
          <pc:sldMk cId="0" sldId="259"/>
        </pc:sldMkLst>
      </pc:sldChg>
      <pc:sldChg chg="del ord">
        <pc:chgData name="Kishor Kukreja" userId="4b679245-99ba-4686-ad2a-c800244b8fab" providerId="ADAL" clId="{C965E74B-565A-4447-B031-34794DCAFFCE}" dt="2021-12-13T19:08:27.715" v="4739" actId="47"/>
        <pc:sldMkLst>
          <pc:docMk/>
          <pc:sldMk cId="0" sldId="260"/>
        </pc:sldMkLst>
      </pc:sldChg>
      <pc:sldChg chg="del">
        <pc:chgData name="Kishor Kukreja" userId="4b679245-99ba-4686-ad2a-c800244b8fab" providerId="ADAL" clId="{C965E74B-565A-4447-B031-34794DCAFFCE}" dt="2021-12-13T19:28:27.043" v="5720" actId="47"/>
        <pc:sldMkLst>
          <pc:docMk/>
          <pc:sldMk cId="0" sldId="261"/>
        </pc:sldMkLst>
      </pc:sldChg>
      <pc:sldChg chg="del ord">
        <pc:chgData name="Kishor Kukreja" userId="4b679245-99ba-4686-ad2a-c800244b8fab" providerId="ADAL" clId="{C965E74B-565A-4447-B031-34794DCAFFCE}" dt="2021-12-13T19:38:25.633" v="6216" actId="47"/>
        <pc:sldMkLst>
          <pc:docMk/>
          <pc:sldMk cId="0" sldId="262"/>
        </pc:sldMkLst>
      </pc:sldChg>
      <pc:sldChg chg="addSp delSp modSp del mod ord">
        <pc:chgData name="Kishor Kukreja" userId="4b679245-99ba-4686-ad2a-c800244b8fab" providerId="ADAL" clId="{C965E74B-565A-4447-B031-34794DCAFFCE}" dt="2021-12-13T20:15:52.628" v="6733" actId="47"/>
        <pc:sldMkLst>
          <pc:docMk/>
          <pc:sldMk cId="0" sldId="263"/>
        </pc:sldMkLst>
        <pc:spChg chg="add del mod">
          <ac:chgData name="Kishor Kukreja" userId="4b679245-99ba-4686-ad2a-c800244b8fab" providerId="ADAL" clId="{C965E74B-565A-4447-B031-34794DCAFFCE}" dt="2021-12-13T19:46:42.323" v="6250" actId="478"/>
          <ac:spMkLst>
            <pc:docMk/>
            <pc:sldMk cId="0" sldId="263"/>
            <ac:spMk id="3" creationId="{9A195AF2-8AF8-4D19-A706-CA79E0645286}"/>
          </ac:spMkLst>
        </pc:spChg>
        <pc:spChg chg="del">
          <ac:chgData name="Kishor Kukreja" userId="4b679245-99ba-4686-ad2a-c800244b8fab" providerId="ADAL" clId="{C965E74B-565A-4447-B031-34794DCAFFCE}" dt="2021-12-13T19:46:40.496" v="6249" actId="478"/>
          <ac:spMkLst>
            <pc:docMk/>
            <pc:sldMk cId="0" sldId="263"/>
            <ac:spMk id="133" creationId="{00000000-0000-0000-0000-000000000000}"/>
          </ac:spMkLst>
        </pc:spChg>
        <pc:spChg chg="del">
          <ac:chgData name="Kishor Kukreja" userId="4b679245-99ba-4686-ad2a-c800244b8fab" providerId="ADAL" clId="{C965E74B-565A-4447-B031-34794DCAFFCE}" dt="2021-12-13T19:46:36.367" v="6248" actId="478"/>
          <ac:spMkLst>
            <pc:docMk/>
            <pc:sldMk cId="0" sldId="263"/>
            <ac:spMk id="136" creationId="{00000000-0000-0000-0000-000000000000}"/>
          </ac:spMkLst>
        </pc:spChg>
        <pc:spChg chg="del">
          <ac:chgData name="Kishor Kukreja" userId="4b679245-99ba-4686-ad2a-c800244b8fab" providerId="ADAL" clId="{C965E74B-565A-4447-B031-34794DCAFFCE}" dt="2021-12-13T19:46:36.367" v="6248" actId="478"/>
          <ac:spMkLst>
            <pc:docMk/>
            <pc:sldMk cId="0" sldId="263"/>
            <ac:spMk id="137" creationId="{00000000-0000-0000-0000-000000000000}"/>
          </ac:spMkLst>
        </pc:spChg>
        <pc:spChg chg="del">
          <ac:chgData name="Kishor Kukreja" userId="4b679245-99ba-4686-ad2a-c800244b8fab" providerId="ADAL" clId="{C965E74B-565A-4447-B031-34794DCAFFCE}" dt="2021-12-13T19:46:36.367" v="6248" actId="478"/>
          <ac:spMkLst>
            <pc:docMk/>
            <pc:sldMk cId="0" sldId="263"/>
            <ac:spMk id="138" creationId="{00000000-0000-0000-0000-000000000000}"/>
          </ac:spMkLst>
        </pc:spChg>
        <pc:spChg chg="del">
          <ac:chgData name="Kishor Kukreja" userId="4b679245-99ba-4686-ad2a-c800244b8fab" providerId="ADAL" clId="{C965E74B-565A-4447-B031-34794DCAFFCE}" dt="2021-12-13T19:46:36.367" v="6248" actId="478"/>
          <ac:spMkLst>
            <pc:docMk/>
            <pc:sldMk cId="0" sldId="263"/>
            <ac:spMk id="139" creationId="{00000000-0000-0000-0000-000000000000}"/>
          </ac:spMkLst>
        </pc:spChg>
        <pc:spChg chg="del">
          <ac:chgData name="Kishor Kukreja" userId="4b679245-99ba-4686-ad2a-c800244b8fab" providerId="ADAL" clId="{C965E74B-565A-4447-B031-34794DCAFFCE}" dt="2021-12-13T19:46:36.367" v="6248" actId="478"/>
          <ac:spMkLst>
            <pc:docMk/>
            <pc:sldMk cId="0" sldId="263"/>
            <ac:spMk id="140" creationId="{00000000-0000-0000-0000-000000000000}"/>
          </ac:spMkLst>
        </pc:spChg>
        <pc:picChg chg="add del mod">
          <ac:chgData name="Kishor Kukreja" userId="4b679245-99ba-4686-ad2a-c800244b8fab" providerId="ADAL" clId="{C965E74B-565A-4447-B031-34794DCAFFCE}" dt="2021-12-13T19:46:56.650" v="6254" actId="21"/>
          <ac:picMkLst>
            <pc:docMk/>
            <pc:sldMk cId="0" sldId="263"/>
            <ac:picMk id="5" creationId="{FF4A220B-1407-4649-946C-9ACA4CA36767}"/>
          </ac:picMkLst>
        </pc:picChg>
        <pc:picChg chg="del">
          <ac:chgData name="Kishor Kukreja" userId="4b679245-99ba-4686-ad2a-c800244b8fab" providerId="ADAL" clId="{C965E74B-565A-4447-B031-34794DCAFFCE}" dt="2021-12-13T19:46:33.130" v="6247" actId="478"/>
          <ac:picMkLst>
            <pc:docMk/>
            <pc:sldMk cId="0" sldId="263"/>
            <ac:picMk id="134" creationId="{00000000-0000-0000-0000-000000000000}"/>
          </ac:picMkLst>
        </pc:picChg>
        <pc:picChg chg="del">
          <ac:chgData name="Kishor Kukreja" userId="4b679245-99ba-4686-ad2a-c800244b8fab" providerId="ADAL" clId="{C965E74B-565A-4447-B031-34794DCAFFCE}" dt="2021-12-13T19:46:36.367" v="6248" actId="478"/>
          <ac:picMkLst>
            <pc:docMk/>
            <pc:sldMk cId="0" sldId="263"/>
            <ac:picMk id="135" creationId="{00000000-0000-0000-0000-000000000000}"/>
          </ac:picMkLst>
        </pc:picChg>
        <pc:cxnChg chg="del">
          <ac:chgData name="Kishor Kukreja" userId="4b679245-99ba-4686-ad2a-c800244b8fab" providerId="ADAL" clId="{C965E74B-565A-4447-B031-34794DCAFFCE}" dt="2021-12-13T19:46:36.367" v="6248" actId="478"/>
          <ac:cxnSpMkLst>
            <pc:docMk/>
            <pc:sldMk cId="0" sldId="263"/>
            <ac:cxnSpMk id="141" creationId="{00000000-0000-0000-0000-000000000000}"/>
          </ac:cxnSpMkLst>
        </pc:cxnChg>
        <pc:cxnChg chg="del">
          <ac:chgData name="Kishor Kukreja" userId="4b679245-99ba-4686-ad2a-c800244b8fab" providerId="ADAL" clId="{C965E74B-565A-4447-B031-34794DCAFFCE}" dt="2021-12-13T19:46:36.367" v="6248" actId="478"/>
          <ac:cxnSpMkLst>
            <pc:docMk/>
            <pc:sldMk cId="0" sldId="263"/>
            <ac:cxnSpMk id="142" creationId="{00000000-0000-0000-0000-000000000000}"/>
          </ac:cxnSpMkLst>
        </pc:cxnChg>
      </pc:sldChg>
      <pc:sldChg chg="del">
        <pc:chgData name="Kishor Kukreja" userId="4b679245-99ba-4686-ad2a-c800244b8fab" providerId="ADAL" clId="{C965E74B-565A-4447-B031-34794DCAFFCE}" dt="2021-12-13T20:27:03.630" v="7206" actId="47"/>
        <pc:sldMkLst>
          <pc:docMk/>
          <pc:sldMk cId="0" sldId="264"/>
        </pc:sldMkLst>
      </pc:sldChg>
      <pc:sldChg chg="del">
        <pc:chgData name="Kishor Kukreja" userId="4b679245-99ba-4686-ad2a-c800244b8fab" providerId="ADAL" clId="{C965E74B-565A-4447-B031-34794DCAFFCE}" dt="2021-12-13T20:39:14.996" v="7495" actId="47"/>
        <pc:sldMkLst>
          <pc:docMk/>
          <pc:sldMk cId="0" sldId="265"/>
        </pc:sldMkLst>
      </pc:sldChg>
      <pc:sldChg chg="addSp delSp modSp add del mod ord modClrScheme chgLayout">
        <pc:chgData name="Kishor Kukreja" userId="4b679245-99ba-4686-ad2a-c800244b8fab" providerId="ADAL" clId="{C965E74B-565A-4447-B031-34794DCAFFCE}" dt="2021-12-13T20:56:30.462" v="7926" actId="47"/>
        <pc:sldMkLst>
          <pc:docMk/>
          <pc:sldMk cId="370190175" sldId="271"/>
        </pc:sldMkLst>
        <pc:spChg chg="mod">
          <ac:chgData name="Kishor Kukreja" userId="4b679245-99ba-4686-ad2a-c800244b8fab" providerId="ADAL" clId="{C965E74B-565A-4447-B031-34794DCAFFCE}" dt="2021-12-13T20:28:07.269" v="7221" actId="122"/>
          <ac:spMkLst>
            <pc:docMk/>
            <pc:sldMk cId="370190175" sldId="271"/>
            <ac:spMk id="4" creationId="{57189D13-F3BA-4F9E-9981-24480A96426A}"/>
          </ac:spMkLst>
        </pc:spChg>
        <pc:spChg chg="mod">
          <ac:chgData name="Kishor Kukreja" userId="4b679245-99ba-4686-ad2a-c800244b8fab" providerId="ADAL" clId="{C965E74B-565A-4447-B031-34794DCAFFCE}" dt="2021-12-13T20:29:24.101" v="7302" actId="1076"/>
          <ac:spMkLst>
            <pc:docMk/>
            <pc:sldMk cId="370190175" sldId="271"/>
            <ac:spMk id="7" creationId="{C9276761-17AB-46F8-B78C-1D9E5BE0769B}"/>
          </ac:spMkLst>
        </pc:spChg>
        <pc:spChg chg="mod">
          <ac:chgData name="Kishor Kukreja" userId="4b679245-99ba-4686-ad2a-c800244b8fab" providerId="ADAL" clId="{C965E74B-565A-4447-B031-34794DCAFFCE}" dt="2021-12-13T20:28:16.304" v="7225" actId="404"/>
          <ac:spMkLst>
            <pc:docMk/>
            <pc:sldMk cId="370190175" sldId="271"/>
            <ac:spMk id="8" creationId="{5F564498-82F1-41E0-8F6A-D807787C670E}"/>
          </ac:spMkLst>
        </pc:spChg>
        <pc:spChg chg="mod">
          <ac:chgData name="Kishor Kukreja" userId="4b679245-99ba-4686-ad2a-c800244b8fab" providerId="ADAL" clId="{C965E74B-565A-4447-B031-34794DCAFFCE}" dt="2021-12-13T20:28:19.804" v="7226" actId="1076"/>
          <ac:spMkLst>
            <pc:docMk/>
            <pc:sldMk cId="370190175" sldId="271"/>
            <ac:spMk id="9" creationId="{515C26A0-C66E-4F84-9CA3-3E6E32465AEB}"/>
          </ac:spMkLst>
        </pc:spChg>
        <pc:spChg chg="mod">
          <ac:chgData name="Kishor Kukreja" userId="4b679245-99ba-4686-ad2a-c800244b8fab" providerId="ADAL" clId="{C965E74B-565A-4447-B031-34794DCAFFCE}" dt="2021-12-13T20:29:43.095" v="7307" actId="33524"/>
          <ac:spMkLst>
            <pc:docMk/>
            <pc:sldMk cId="370190175" sldId="271"/>
            <ac:spMk id="10" creationId="{F80CC64F-ED42-48A0-A8AF-7DE28F158667}"/>
          </ac:spMkLst>
        </pc:spChg>
        <pc:spChg chg="mod">
          <ac:chgData name="Kishor Kukreja" userId="4b679245-99ba-4686-ad2a-c800244b8fab" providerId="ADAL" clId="{C965E74B-565A-4447-B031-34794DCAFFCE}" dt="2021-12-13T20:30:00.468" v="7310"/>
          <ac:spMkLst>
            <pc:docMk/>
            <pc:sldMk cId="370190175" sldId="271"/>
            <ac:spMk id="11" creationId="{00000000-0000-0000-0000-000000000000}"/>
          </ac:spMkLst>
        </pc:spChg>
        <pc:spChg chg="mod">
          <ac:chgData name="Kishor Kukreja" userId="4b679245-99ba-4686-ad2a-c800244b8fab" providerId="ADAL" clId="{C965E74B-565A-4447-B031-34794DCAFFCE}" dt="2021-12-13T20:29:37.900" v="7305" actId="1076"/>
          <ac:spMkLst>
            <pc:docMk/>
            <pc:sldMk cId="370190175" sldId="271"/>
            <ac:spMk id="12" creationId="{57189D13-F3BA-4F9E-9981-24480A96426A}"/>
          </ac:spMkLst>
        </pc:spChg>
        <pc:spChg chg="add del mod ord">
          <ac:chgData name="Kishor Kukreja" userId="4b679245-99ba-4686-ad2a-c800244b8fab" providerId="ADAL" clId="{C965E74B-565A-4447-B031-34794DCAFFCE}" dt="2021-12-13T20:28:33.435" v="7229" actId="478"/>
          <ac:spMkLst>
            <pc:docMk/>
            <pc:sldMk cId="370190175" sldId="271"/>
            <ac:spMk id="13" creationId="{50E214D1-03D2-413E-8851-F648B95C3D93}"/>
          </ac:spMkLst>
        </pc:spChg>
        <pc:graphicFrameChg chg="modGraphic">
          <ac:chgData name="Kishor Kukreja" userId="4b679245-99ba-4686-ad2a-c800244b8fab" providerId="ADAL" clId="{C965E74B-565A-4447-B031-34794DCAFFCE}" dt="2021-12-13T20:29:29.158" v="7303" actId="122"/>
          <ac:graphicFrameMkLst>
            <pc:docMk/>
            <pc:sldMk cId="370190175" sldId="271"/>
            <ac:graphicFrameMk id="2" creationId="{C9F27504-066A-4E0F-A362-3FF753E1868B}"/>
          </ac:graphicFrameMkLst>
        </pc:graphicFrameChg>
        <pc:graphicFrameChg chg="mod modGraphic">
          <ac:chgData name="Kishor Kukreja" userId="4b679245-99ba-4686-ad2a-c800244b8fab" providerId="ADAL" clId="{C965E74B-565A-4447-B031-34794DCAFFCE}" dt="2021-12-13T20:29:35.509" v="7304" actId="122"/>
          <ac:graphicFrameMkLst>
            <pc:docMk/>
            <pc:sldMk cId="370190175" sldId="271"/>
            <ac:graphicFrameMk id="5" creationId="{B8000B43-1802-4CCF-8E3E-AF02EB1FF851}"/>
          </ac:graphicFrameMkLst>
        </pc:graphicFrameChg>
      </pc:sldChg>
      <pc:sldChg chg="del">
        <pc:chgData name="Kishor Kukreja" userId="4b679245-99ba-4686-ad2a-c800244b8fab" providerId="ADAL" clId="{C965E74B-565A-4447-B031-34794DCAFFCE}" dt="2021-12-13T20:39:14.595" v="7494" actId="47"/>
        <pc:sldMkLst>
          <pc:docMk/>
          <pc:sldMk cId="1461860873" sldId="272"/>
        </pc:sldMkLst>
      </pc:sldChg>
      <pc:sldChg chg="addSp delSp modSp add mod">
        <pc:chgData name="Kishor Kukreja" userId="4b679245-99ba-4686-ad2a-c800244b8fab" providerId="ADAL" clId="{C965E74B-565A-4447-B031-34794DCAFFCE}" dt="2021-12-13T21:18:16.154" v="8445" actId="20577"/>
        <pc:sldMkLst>
          <pc:docMk/>
          <pc:sldMk cId="4045291576" sldId="495"/>
        </pc:sldMkLst>
        <pc:spChg chg="mod">
          <ac:chgData name="Kishor Kukreja" userId="4b679245-99ba-4686-ad2a-c800244b8fab" providerId="ADAL" clId="{C965E74B-565A-4447-B031-34794DCAFFCE}" dt="2021-12-13T17:14:32.735" v="1211" actId="20577"/>
          <ac:spMkLst>
            <pc:docMk/>
            <pc:sldMk cId="4045291576" sldId="495"/>
            <ac:spMk id="4" creationId="{00000000-0000-0000-0000-000000000000}"/>
          </ac:spMkLst>
        </pc:spChg>
        <pc:spChg chg="mod">
          <ac:chgData name="Kishor Kukreja" userId="4b679245-99ba-4686-ad2a-c800244b8fab" providerId="ADAL" clId="{C965E74B-565A-4447-B031-34794DCAFFCE}" dt="2021-12-13T18:10:35.225" v="2879" actId="1036"/>
          <ac:spMkLst>
            <pc:docMk/>
            <pc:sldMk cId="4045291576" sldId="495"/>
            <ac:spMk id="9" creationId="{40EBBC76-D7D1-4FFA-8D5E-15C255FA5A12}"/>
          </ac:spMkLst>
        </pc:spChg>
        <pc:spChg chg="mod">
          <ac:chgData name="Kishor Kukreja" userId="4b679245-99ba-4686-ad2a-c800244b8fab" providerId="ADAL" clId="{C965E74B-565A-4447-B031-34794DCAFFCE}" dt="2021-12-13T17:14:08.899" v="1203" actId="108"/>
          <ac:spMkLst>
            <pc:docMk/>
            <pc:sldMk cId="4045291576" sldId="495"/>
            <ac:spMk id="12" creationId="{00000000-0000-0000-0000-000000000000}"/>
          </ac:spMkLst>
        </pc:spChg>
        <pc:spChg chg="mod">
          <ac:chgData name="Kishor Kukreja" userId="4b679245-99ba-4686-ad2a-c800244b8fab" providerId="ADAL" clId="{C965E74B-565A-4447-B031-34794DCAFFCE}" dt="2021-12-13T17:24:16.574" v="1577" actId="14100"/>
          <ac:spMkLst>
            <pc:docMk/>
            <pc:sldMk cId="4045291576" sldId="495"/>
            <ac:spMk id="13" creationId="{00000000-0000-0000-0000-000000000000}"/>
          </ac:spMkLst>
        </pc:spChg>
        <pc:spChg chg="mod">
          <ac:chgData name="Kishor Kukreja" userId="4b679245-99ba-4686-ad2a-c800244b8fab" providerId="ADAL" clId="{C965E74B-565A-4447-B031-34794DCAFFCE}" dt="2021-12-13T17:14:45.249" v="1219" actId="20577"/>
          <ac:spMkLst>
            <pc:docMk/>
            <pc:sldMk cId="4045291576" sldId="495"/>
            <ac:spMk id="18" creationId="{00000000-0000-0000-0000-000000000000}"/>
          </ac:spMkLst>
        </pc:spChg>
        <pc:spChg chg="mod">
          <ac:chgData name="Kishor Kukreja" userId="4b679245-99ba-4686-ad2a-c800244b8fab" providerId="ADAL" clId="{C965E74B-565A-4447-B031-34794DCAFFCE}" dt="2021-12-13T17:27:53.247" v="1652" actId="20577"/>
          <ac:spMkLst>
            <pc:docMk/>
            <pc:sldMk cId="4045291576" sldId="495"/>
            <ac:spMk id="19" creationId="{00000000-0000-0000-0000-000000000000}"/>
          </ac:spMkLst>
        </pc:spChg>
        <pc:spChg chg="mod">
          <ac:chgData name="Kishor Kukreja" userId="4b679245-99ba-4686-ad2a-c800244b8fab" providerId="ADAL" clId="{C965E74B-565A-4447-B031-34794DCAFFCE}" dt="2021-12-13T17:23:53.789" v="1570" actId="14100"/>
          <ac:spMkLst>
            <pc:docMk/>
            <pc:sldMk cId="4045291576" sldId="495"/>
            <ac:spMk id="21" creationId="{00000000-0000-0000-0000-000000000000}"/>
          </ac:spMkLst>
        </pc:spChg>
        <pc:spChg chg="mod">
          <ac:chgData name="Kishor Kukreja" userId="4b679245-99ba-4686-ad2a-c800244b8fab" providerId="ADAL" clId="{C965E74B-565A-4447-B031-34794DCAFFCE}" dt="2021-12-13T17:12:14.610" v="1139" actId="207"/>
          <ac:spMkLst>
            <pc:docMk/>
            <pc:sldMk cId="4045291576" sldId="495"/>
            <ac:spMk id="25" creationId="{00000000-0000-0000-0000-000000000000}"/>
          </ac:spMkLst>
        </pc:spChg>
        <pc:spChg chg="mod">
          <ac:chgData name="Kishor Kukreja" userId="4b679245-99ba-4686-ad2a-c800244b8fab" providerId="ADAL" clId="{C965E74B-565A-4447-B031-34794DCAFFCE}" dt="2021-12-13T17:12:58.781" v="1144" actId="207"/>
          <ac:spMkLst>
            <pc:docMk/>
            <pc:sldMk cId="4045291576" sldId="495"/>
            <ac:spMk id="26" creationId="{00000000-0000-0000-0000-000000000000}"/>
          </ac:spMkLst>
        </pc:spChg>
        <pc:spChg chg="mod">
          <ac:chgData name="Kishor Kukreja" userId="4b679245-99ba-4686-ad2a-c800244b8fab" providerId="ADAL" clId="{C965E74B-565A-4447-B031-34794DCAFFCE}" dt="2021-12-13T17:23:46.145" v="1568" actId="20577"/>
          <ac:spMkLst>
            <pc:docMk/>
            <pc:sldMk cId="4045291576" sldId="495"/>
            <ac:spMk id="29" creationId="{00000000-0000-0000-0000-000000000000}"/>
          </ac:spMkLst>
        </pc:spChg>
        <pc:spChg chg="del">
          <ac:chgData name="Kishor Kukreja" userId="4b679245-99ba-4686-ad2a-c800244b8fab" providerId="ADAL" clId="{C965E74B-565A-4447-B031-34794DCAFFCE}" dt="2021-12-13T17:24:26.829" v="1580" actId="478"/>
          <ac:spMkLst>
            <pc:docMk/>
            <pc:sldMk cId="4045291576" sldId="495"/>
            <ac:spMk id="31" creationId="{00000000-0000-0000-0000-000000000000}"/>
          </ac:spMkLst>
        </pc:spChg>
        <pc:spChg chg="mod">
          <ac:chgData name="Kishor Kukreja" userId="4b679245-99ba-4686-ad2a-c800244b8fab" providerId="ADAL" clId="{C965E74B-565A-4447-B031-34794DCAFFCE}" dt="2021-12-13T17:29:35.352" v="1653" actId="207"/>
          <ac:spMkLst>
            <pc:docMk/>
            <pc:sldMk cId="4045291576" sldId="495"/>
            <ac:spMk id="33" creationId="{00000000-0000-0000-0000-000000000000}"/>
          </ac:spMkLst>
        </pc:spChg>
        <pc:spChg chg="mod">
          <ac:chgData name="Kishor Kukreja" userId="4b679245-99ba-4686-ad2a-c800244b8fab" providerId="ADAL" clId="{C965E74B-565A-4447-B031-34794DCAFFCE}" dt="2021-12-13T17:29:55.401" v="1657" actId="207"/>
          <ac:spMkLst>
            <pc:docMk/>
            <pc:sldMk cId="4045291576" sldId="495"/>
            <ac:spMk id="35" creationId="{00000000-0000-0000-0000-000000000000}"/>
          </ac:spMkLst>
        </pc:spChg>
        <pc:spChg chg="mod">
          <ac:chgData name="Kishor Kukreja" userId="4b679245-99ba-4686-ad2a-c800244b8fab" providerId="ADAL" clId="{C965E74B-565A-4447-B031-34794DCAFFCE}" dt="2021-12-13T18:12:44.538" v="2902" actId="14100"/>
          <ac:spMkLst>
            <pc:docMk/>
            <pc:sldMk cId="4045291576" sldId="495"/>
            <ac:spMk id="38" creationId="{00000000-0000-0000-0000-000000000000}"/>
          </ac:spMkLst>
        </pc:spChg>
        <pc:spChg chg="mod">
          <ac:chgData name="Kishor Kukreja" userId="4b679245-99ba-4686-ad2a-c800244b8fab" providerId="ADAL" clId="{C965E74B-565A-4447-B031-34794DCAFFCE}" dt="2021-12-13T17:30:01.400" v="1658" actId="207"/>
          <ac:spMkLst>
            <pc:docMk/>
            <pc:sldMk cId="4045291576" sldId="495"/>
            <ac:spMk id="39" creationId="{00000000-0000-0000-0000-000000000000}"/>
          </ac:spMkLst>
        </pc:spChg>
        <pc:spChg chg="mod">
          <ac:chgData name="Kishor Kukreja" userId="4b679245-99ba-4686-ad2a-c800244b8fab" providerId="ADAL" clId="{C965E74B-565A-4447-B031-34794DCAFFCE}" dt="2021-12-13T18:12:37.790" v="2900" actId="14100"/>
          <ac:spMkLst>
            <pc:docMk/>
            <pc:sldMk cId="4045291576" sldId="495"/>
            <ac:spMk id="40" creationId="{00000000-0000-0000-0000-000000000000}"/>
          </ac:spMkLst>
        </pc:spChg>
        <pc:spChg chg="mod">
          <ac:chgData name="Kishor Kukreja" userId="4b679245-99ba-4686-ad2a-c800244b8fab" providerId="ADAL" clId="{C965E74B-565A-4447-B031-34794DCAFFCE}" dt="2021-12-13T21:18:16.154" v="8445" actId="20577"/>
          <ac:spMkLst>
            <pc:docMk/>
            <pc:sldMk cId="4045291576" sldId="495"/>
            <ac:spMk id="41" creationId="{00000000-0000-0000-0000-000000000000}"/>
          </ac:spMkLst>
        </pc:spChg>
        <pc:spChg chg="del">
          <ac:chgData name="Kishor Kukreja" userId="4b679245-99ba-4686-ad2a-c800244b8fab" providerId="ADAL" clId="{C965E74B-565A-4447-B031-34794DCAFFCE}" dt="2021-12-13T17:24:23.037" v="1578" actId="478"/>
          <ac:spMkLst>
            <pc:docMk/>
            <pc:sldMk cId="4045291576" sldId="495"/>
            <ac:spMk id="42" creationId="{00000000-0000-0000-0000-000000000000}"/>
          </ac:spMkLst>
        </pc:spChg>
        <pc:spChg chg="mod">
          <ac:chgData name="Kishor Kukreja" userId="4b679245-99ba-4686-ad2a-c800244b8fab" providerId="ADAL" clId="{C965E74B-565A-4447-B031-34794DCAFFCE}" dt="2021-12-13T17:31:30.422" v="1703" actId="108"/>
          <ac:spMkLst>
            <pc:docMk/>
            <pc:sldMk cId="4045291576" sldId="495"/>
            <ac:spMk id="43" creationId="{00000000-0000-0000-0000-000000000000}"/>
          </ac:spMkLst>
        </pc:spChg>
        <pc:spChg chg="add del mod">
          <ac:chgData name="Kishor Kukreja" userId="4b679245-99ba-4686-ad2a-c800244b8fab" providerId="ADAL" clId="{C965E74B-565A-4447-B031-34794DCAFFCE}" dt="2021-12-13T17:19:29.326" v="1380" actId="478"/>
          <ac:spMkLst>
            <pc:docMk/>
            <pc:sldMk cId="4045291576" sldId="495"/>
            <ac:spMk id="44" creationId="{52595C6B-5E64-4CDE-8A05-A7B0F0DF8A2E}"/>
          </ac:spMkLst>
        </pc:spChg>
        <pc:spChg chg="mod">
          <ac:chgData name="Kishor Kukreja" userId="4b679245-99ba-4686-ad2a-c800244b8fab" providerId="ADAL" clId="{C965E74B-565A-4447-B031-34794DCAFFCE}" dt="2021-12-13T18:10:35.225" v="2879" actId="1036"/>
          <ac:spMkLst>
            <pc:docMk/>
            <pc:sldMk cId="4045291576" sldId="495"/>
            <ac:spMk id="51" creationId="{00000000-0000-0000-0000-000000000000}"/>
          </ac:spMkLst>
        </pc:spChg>
        <pc:spChg chg="del mod">
          <ac:chgData name="Kishor Kukreja" userId="4b679245-99ba-4686-ad2a-c800244b8fab" providerId="ADAL" clId="{C965E74B-565A-4447-B031-34794DCAFFCE}" dt="2021-12-13T17:07:15.510" v="1039" actId="478"/>
          <ac:spMkLst>
            <pc:docMk/>
            <pc:sldMk cId="4045291576" sldId="495"/>
            <ac:spMk id="55" creationId="{00000000-0000-0000-0000-000000000000}"/>
          </ac:spMkLst>
        </pc:spChg>
        <pc:grpChg chg="mod">
          <ac:chgData name="Kishor Kukreja" userId="4b679245-99ba-4686-ad2a-c800244b8fab" providerId="ADAL" clId="{C965E74B-565A-4447-B031-34794DCAFFCE}" dt="2021-12-13T18:10:35.225" v="2879" actId="1036"/>
          <ac:grpSpMkLst>
            <pc:docMk/>
            <pc:sldMk cId="4045291576" sldId="495"/>
            <ac:grpSpMk id="3" creationId="{00000000-0000-0000-0000-000000000000}"/>
          </ac:grpSpMkLst>
        </pc:grpChg>
        <pc:grpChg chg="mod">
          <ac:chgData name="Kishor Kukreja" userId="4b679245-99ba-4686-ad2a-c800244b8fab" providerId="ADAL" clId="{C965E74B-565A-4447-B031-34794DCAFFCE}" dt="2021-12-13T18:10:35.225" v="2879" actId="1036"/>
          <ac:grpSpMkLst>
            <pc:docMk/>
            <pc:sldMk cId="4045291576" sldId="495"/>
            <ac:grpSpMk id="5" creationId="{00000000-0000-0000-0000-000000000000}"/>
          </ac:grpSpMkLst>
        </pc:grpChg>
        <pc:grpChg chg="mod">
          <ac:chgData name="Kishor Kukreja" userId="4b679245-99ba-4686-ad2a-c800244b8fab" providerId="ADAL" clId="{C965E74B-565A-4447-B031-34794DCAFFCE}" dt="2021-12-13T18:10:35.225" v="2879" actId="1036"/>
          <ac:grpSpMkLst>
            <pc:docMk/>
            <pc:sldMk cId="4045291576" sldId="495"/>
            <ac:grpSpMk id="6" creationId="{00000000-0000-0000-0000-000000000000}"/>
          </ac:grpSpMkLst>
        </pc:grpChg>
        <pc:grpChg chg="mod">
          <ac:chgData name="Kishor Kukreja" userId="4b679245-99ba-4686-ad2a-c800244b8fab" providerId="ADAL" clId="{C965E74B-565A-4447-B031-34794DCAFFCE}" dt="2021-12-13T18:10:35.225" v="2879" actId="1036"/>
          <ac:grpSpMkLst>
            <pc:docMk/>
            <pc:sldMk cId="4045291576" sldId="495"/>
            <ac:grpSpMk id="7" creationId="{00000000-0000-0000-0000-000000000000}"/>
          </ac:grpSpMkLst>
        </pc:grpChg>
        <pc:grpChg chg="mod">
          <ac:chgData name="Kishor Kukreja" userId="4b679245-99ba-4686-ad2a-c800244b8fab" providerId="ADAL" clId="{C965E74B-565A-4447-B031-34794DCAFFCE}" dt="2021-12-13T18:10:35.225" v="2879" actId="1036"/>
          <ac:grpSpMkLst>
            <pc:docMk/>
            <pc:sldMk cId="4045291576" sldId="495"/>
            <ac:grpSpMk id="8" creationId="{00000000-0000-0000-0000-000000000000}"/>
          </ac:grpSpMkLst>
        </pc:grpChg>
        <pc:picChg chg="add mod">
          <ac:chgData name="Kishor Kukreja" userId="4b679245-99ba-4686-ad2a-c800244b8fab" providerId="ADAL" clId="{C965E74B-565A-4447-B031-34794DCAFFCE}" dt="2021-12-13T18:10:35.225" v="2879" actId="1036"/>
          <ac:picMkLst>
            <pc:docMk/>
            <pc:sldMk cId="4045291576" sldId="495"/>
            <ac:picMk id="11" creationId="{D7982A4E-6E49-4ABE-9F26-7C4F9C85079B}"/>
          </ac:picMkLst>
        </pc:picChg>
        <pc:picChg chg="add mod">
          <ac:chgData name="Kishor Kukreja" userId="4b679245-99ba-4686-ad2a-c800244b8fab" providerId="ADAL" clId="{C965E74B-565A-4447-B031-34794DCAFFCE}" dt="2021-12-13T18:10:35.225" v="2879" actId="1036"/>
          <ac:picMkLst>
            <pc:docMk/>
            <pc:sldMk cId="4045291576" sldId="495"/>
            <ac:picMk id="15" creationId="{0A2DF145-9584-4F01-935B-0C82BB358681}"/>
          </ac:picMkLst>
        </pc:picChg>
        <pc:picChg chg="add mod">
          <ac:chgData name="Kishor Kukreja" userId="4b679245-99ba-4686-ad2a-c800244b8fab" providerId="ADAL" clId="{C965E74B-565A-4447-B031-34794DCAFFCE}" dt="2021-12-13T18:10:35.225" v="2879" actId="1036"/>
          <ac:picMkLst>
            <pc:docMk/>
            <pc:sldMk cId="4045291576" sldId="495"/>
            <ac:picMk id="17" creationId="{7DA676D3-CE61-4A84-AA14-91C7773F05A9}"/>
          </ac:picMkLst>
        </pc:picChg>
        <pc:picChg chg="add del mod">
          <ac:chgData name="Kishor Kukreja" userId="4b679245-99ba-4686-ad2a-c800244b8fab" providerId="ADAL" clId="{C965E74B-565A-4447-B031-34794DCAFFCE}" dt="2021-12-13T17:53:11.104" v="2116" actId="478"/>
          <ac:picMkLst>
            <pc:docMk/>
            <pc:sldMk cId="4045291576" sldId="495"/>
            <ac:picMk id="22" creationId="{7531DC61-2830-4E90-AAD3-564794A55D50}"/>
          </ac:picMkLst>
        </pc:picChg>
        <pc:picChg chg="add mod">
          <ac:chgData name="Kishor Kukreja" userId="4b679245-99ba-4686-ad2a-c800244b8fab" providerId="ADAL" clId="{C965E74B-565A-4447-B031-34794DCAFFCE}" dt="2021-12-13T18:12:33.151" v="2899" actId="1035"/>
          <ac:picMkLst>
            <pc:docMk/>
            <pc:sldMk cId="4045291576" sldId="495"/>
            <ac:picMk id="45" creationId="{538AA601-6E41-4DC9-800D-4B6F4CC88159}"/>
          </ac:picMkLst>
        </pc:picChg>
        <pc:picChg chg="mod">
          <ac:chgData name="Kishor Kukreja" userId="4b679245-99ba-4686-ad2a-c800244b8fab" providerId="ADAL" clId="{C965E74B-565A-4447-B031-34794DCAFFCE}" dt="2021-12-13T18:10:35.225" v="2879" actId="1036"/>
          <ac:picMkLst>
            <pc:docMk/>
            <pc:sldMk cId="4045291576" sldId="495"/>
            <ac:picMk id="52" creationId="{00000000-0000-0000-0000-000000000000}"/>
          </ac:picMkLst>
        </pc:picChg>
        <pc:picChg chg="del mod">
          <ac:chgData name="Kishor Kukreja" userId="4b679245-99ba-4686-ad2a-c800244b8fab" providerId="ADAL" clId="{C965E74B-565A-4447-B031-34794DCAFFCE}" dt="2021-12-13T17:07:14.488" v="1038" actId="478"/>
          <ac:picMkLst>
            <pc:docMk/>
            <pc:sldMk cId="4045291576" sldId="495"/>
            <ac:picMk id="53" creationId="{00000000-0000-0000-0000-000000000000}"/>
          </ac:picMkLst>
        </pc:picChg>
        <pc:picChg chg="del mod">
          <ac:chgData name="Kishor Kukreja" userId="4b679245-99ba-4686-ad2a-c800244b8fab" providerId="ADAL" clId="{C965E74B-565A-4447-B031-34794DCAFFCE}" dt="2021-12-13T17:07:13.425" v="1037" actId="478"/>
          <ac:picMkLst>
            <pc:docMk/>
            <pc:sldMk cId="4045291576" sldId="495"/>
            <ac:picMk id="3101" creationId="{0AD3FFCC-E834-404F-8DA7-26FBBE685059}"/>
          </ac:picMkLst>
        </pc:picChg>
      </pc:sldChg>
      <pc:sldChg chg="delSp add del mod">
        <pc:chgData name="Kishor Kukreja" userId="4b679245-99ba-4686-ad2a-c800244b8fab" providerId="ADAL" clId="{C965E74B-565A-4447-B031-34794DCAFFCE}" dt="2021-12-13T18:20:55.643" v="3030" actId="47"/>
        <pc:sldMkLst>
          <pc:docMk/>
          <pc:sldMk cId="2427124755" sldId="3295"/>
        </pc:sldMkLst>
        <pc:spChg chg="del">
          <ac:chgData name="Kishor Kukreja" userId="4b679245-99ba-4686-ad2a-c800244b8fab" providerId="ADAL" clId="{C965E74B-565A-4447-B031-34794DCAFFCE}" dt="2021-12-13T18:19:46.209" v="2974" actId="478"/>
          <ac:spMkLst>
            <pc:docMk/>
            <pc:sldMk cId="2427124755" sldId="3295"/>
            <ac:spMk id="31" creationId="{A5117690-8579-4E8D-8051-FCBF3645B2AE}"/>
          </ac:spMkLst>
        </pc:spChg>
      </pc:sldChg>
      <pc:sldChg chg="modSp add del mod">
        <pc:chgData name="Kishor Kukreja" userId="4b679245-99ba-4686-ad2a-c800244b8fab" providerId="ADAL" clId="{C965E74B-565A-4447-B031-34794DCAFFCE}" dt="2021-12-13T18:10:51.149" v="2880" actId="47"/>
        <pc:sldMkLst>
          <pc:docMk/>
          <pc:sldMk cId="3678701226" sldId="5669"/>
        </pc:sldMkLst>
        <pc:spChg chg="mod">
          <ac:chgData name="Kishor Kukreja" userId="4b679245-99ba-4686-ad2a-c800244b8fab" providerId="ADAL" clId="{C965E74B-565A-4447-B031-34794DCAFFCE}" dt="2021-12-13T16:57:39.782" v="950" actId="27636"/>
          <ac:spMkLst>
            <pc:docMk/>
            <pc:sldMk cId="3678701226" sldId="5669"/>
            <ac:spMk id="3" creationId="{5D2934DD-37C2-4936-A2AF-7E9A548E6F36}"/>
          </ac:spMkLst>
        </pc:spChg>
      </pc:sldChg>
      <pc:sldChg chg="addSp delSp modSp add del mod">
        <pc:chgData name="Kishor Kukreja" userId="4b679245-99ba-4686-ad2a-c800244b8fab" providerId="ADAL" clId="{C965E74B-565A-4447-B031-34794DCAFFCE}" dt="2021-12-13T17:44:50.420" v="2000" actId="47"/>
        <pc:sldMkLst>
          <pc:docMk/>
          <pc:sldMk cId="40880815" sldId="5670"/>
        </pc:sldMkLst>
        <pc:spChg chg="mod">
          <ac:chgData name="Kishor Kukreja" userId="4b679245-99ba-4686-ad2a-c800244b8fab" providerId="ADAL" clId="{C965E74B-565A-4447-B031-34794DCAFFCE}" dt="2021-12-13T17:40:27.655" v="1927" actId="1076"/>
          <ac:spMkLst>
            <pc:docMk/>
            <pc:sldMk cId="40880815" sldId="5670"/>
            <ac:spMk id="3" creationId="{5D2934DD-37C2-4936-A2AF-7E9A548E6F36}"/>
          </ac:spMkLst>
        </pc:spChg>
        <pc:spChg chg="add mod">
          <ac:chgData name="Kishor Kukreja" userId="4b679245-99ba-4686-ad2a-c800244b8fab" providerId="ADAL" clId="{C965E74B-565A-4447-B031-34794DCAFFCE}" dt="2021-12-13T17:39:59.876" v="1908" actId="1076"/>
          <ac:spMkLst>
            <pc:docMk/>
            <pc:sldMk cId="40880815" sldId="5670"/>
            <ac:spMk id="7" creationId="{E0A1473A-264A-4E31-BA84-0921FB293B30}"/>
          </ac:spMkLst>
        </pc:spChg>
        <pc:spChg chg="add mod">
          <ac:chgData name="Kishor Kukreja" userId="4b679245-99ba-4686-ad2a-c800244b8fab" providerId="ADAL" clId="{C965E74B-565A-4447-B031-34794DCAFFCE}" dt="2021-12-13T17:40:19.384" v="1925" actId="20577"/>
          <ac:spMkLst>
            <pc:docMk/>
            <pc:sldMk cId="40880815" sldId="5670"/>
            <ac:spMk id="9" creationId="{B18D4AAC-8E52-4DED-851F-E6E5B4A9114A}"/>
          </ac:spMkLst>
        </pc:spChg>
        <pc:spChg chg="add mod">
          <ac:chgData name="Kishor Kukreja" userId="4b679245-99ba-4686-ad2a-c800244b8fab" providerId="ADAL" clId="{C965E74B-565A-4447-B031-34794DCAFFCE}" dt="2021-12-13T17:40:38.923" v="1930" actId="14100"/>
          <ac:spMkLst>
            <pc:docMk/>
            <pc:sldMk cId="40880815" sldId="5670"/>
            <ac:spMk id="10" creationId="{4A163DAA-322B-46F3-A936-53857ACD6D23}"/>
          </ac:spMkLst>
        </pc:spChg>
        <pc:picChg chg="del">
          <ac:chgData name="Kishor Kukreja" userId="4b679245-99ba-4686-ad2a-c800244b8fab" providerId="ADAL" clId="{C965E74B-565A-4447-B031-34794DCAFFCE}" dt="2021-12-13T17:39:32.091" v="1898" actId="478"/>
          <ac:picMkLst>
            <pc:docMk/>
            <pc:sldMk cId="40880815" sldId="5670"/>
            <ac:picMk id="6" creationId="{9CB526D8-2963-41A2-AE77-E9BC53C0D63B}"/>
          </ac:picMkLst>
        </pc:picChg>
        <pc:picChg chg="del">
          <ac:chgData name="Kishor Kukreja" userId="4b679245-99ba-4686-ad2a-c800244b8fab" providerId="ADAL" clId="{C965E74B-565A-4447-B031-34794DCAFFCE}" dt="2021-12-13T17:39:32.729" v="1899" actId="478"/>
          <ac:picMkLst>
            <pc:docMk/>
            <pc:sldMk cId="40880815" sldId="5670"/>
            <ac:picMk id="8" creationId="{A2565B1C-2B5C-488B-BEEB-6F0471CBD5E6}"/>
          </ac:picMkLst>
        </pc:picChg>
      </pc:sldChg>
      <pc:sldChg chg="modSp add del mod">
        <pc:chgData name="Kishor Kukreja" userId="4b679245-99ba-4686-ad2a-c800244b8fab" providerId="ADAL" clId="{C965E74B-565A-4447-B031-34794DCAFFCE}" dt="2021-12-13T18:10:54.595" v="2881" actId="47"/>
        <pc:sldMkLst>
          <pc:docMk/>
          <pc:sldMk cId="988796070" sldId="5671"/>
        </pc:sldMkLst>
        <pc:spChg chg="mod">
          <ac:chgData name="Kishor Kukreja" userId="4b679245-99ba-4686-ad2a-c800244b8fab" providerId="ADAL" clId="{C965E74B-565A-4447-B031-34794DCAFFCE}" dt="2021-12-13T16:57:39.782" v="951" actId="27636"/>
          <ac:spMkLst>
            <pc:docMk/>
            <pc:sldMk cId="988796070" sldId="5671"/>
            <ac:spMk id="3" creationId="{5D2934DD-37C2-4936-A2AF-7E9A548E6F36}"/>
          </ac:spMkLst>
        </pc:spChg>
      </pc:sldChg>
      <pc:sldChg chg="add del">
        <pc:chgData name="Kishor Kukreja" userId="4b679245-99ba-4686-ad2a-c800244b8fab" providerId="ADAL" clId="{C965E74B-565A-4447-B031-34794DCAFFCE}" dt="2021-12-13T18:10:56.474" v="2882" actId="47"/>
        <pc:sldMkLst>
          <pc:docMk/>
          <pc:sldMk cId="3604812197" sldId="5672"/>
        </pc:sldMkLst>
      </pc:sldChg>
      <pc:sldChg chg="add del">
        <pc:chgData name="Kishor Kukreja" userId="4b679245-99ba-4686-ad2a-c800244b8fab" providerId="ADAL" clId="{C965E74B-565A-4447-B031-34794DCAFFCE}" dt="2021-12-13T18:10:57.604" v="2883" actId="47"/>
        <pc:sldMkLst>
          <pc:docMk/>
          <pc:sldMk cId="2521352874" sldId="5673"/>
        </pc:sldMkLst>
      </pc:sldChg>
      <pc:sldChg chg="addSp delSp modSp mod">
        <pc:chgData name="Kishor Kukreja" userId="4b679245-99ba-4686-ad2a-c800244b8fab" providerId="ADAL" clId="{C965E74B-565A-4447-B031-34794DCAFFCE}" dt="2021-12-13T21:16:44.436" v="8425"/>
        <pc:sldMkLst>
          <pc:docMk/>
          <pc:sldMk cId="3481377285" sldId="7487"/>
        </pc:sldMkLst>
        <pc:spChg chg="add mod">
          <ac:chgData name="Kishor Kukreja" userId="4b679245-99ba-4686-ad2a-c800244b8fab" providerId="ADAL" clId="{C965E74B-565A-4447-B031-34794DCAFFCE}" dt="2021-12-13T18:19:13.139" v="2972" actId="14100"/>
          <ac:spMkLst>
            <pc:docMk/>
            <pc:sldMk cId="3481377285" sldId="7487"/>
            <ac:spMk id="3" creationId="{196954ED-1EC1-4E3F-9549-A92FFD066476}"/>
          </ac:spMkLst>
        </pc:spChg>
        <pc:spChg chg="mod">
          <ac:chgData name="Kishor Kukreja" userId="4b679245-99ba-4686-ad2a-c800244b8fab" providerId="ADAL" clId="{C965E74B-565A-4447-B031-34794DCAFFCE}" dt="2021-12-13T17:05:03.028" v="1009" actId="1076"/>
          <ac:spMkLst>
            <pc:docMk/>
            <pc:sldMk cId="3481377285" sldId="7487"/>
            <ac:spMk id="4" creationId="{7E2A034E-2F4A-4F21-8943-235B2203E842}"/>
          </ac:spMkLst>
        </pc:spChg>
        <pc:spChg chg="mod">
          <ac:chgData name="Kishor Kukreja" userId="4b679245-99ba-4686-ad2a-c800244b8fab" providerId="ADAL" clId="{C965E74B-565A-4447-B031-34794DCAFFCE}" dt="2021-12-13T17:04:40.676" v="1005" actId="1076"/>
          <ac:spMkLst>
            <pc:docMk/>
            <pc:sldMk cId="3481377285" sldId="7487"/>
            <ac:spMk id="5" creationId="{569A4555-C958-4429-872D-DCDA86A2E673}"/>
          </ac:spMkLst>
        </pc:spChg>
        <pc:spChg chg="add mod">
          <ac:chgData name="Kishor Kukreja" userId="4b679245-99ba-4686-ad2a-c800244b8fab" providerId="ADAL" clId="{C965E74B-565A-4447-B031-34794DCAFFCE}" dt="2021-12-13T18:36:34.730" v="3859" actId="1076"/>
          <ac:spMkLst>
            <pc:docMk/>
            <pc:sldMk cId="3481377285" sldId="7487"/>
            <ac:spMk id="6" creationId="{889AC713-95DD-4428-91AA-3D4298AE825D}"/>
          </ac:spMkLst>
        </pc:spChg>
        <pc:spChg chg="mod">
          <ac:chgData name="Kishor Kukreja" userId="4b679245-99ba-4686-ad2a-c800244b8fab" providerId="ADAL" clId="{C965E74B-565A-4447-B031-34794DCAFFCE}" dt="2021-12-13T18:11:08.328" v="2884" actId="1076"/>
          <ac:spMkLst>
            <pc:docMk/>
            <pc:sldMk cId="3481377285" sldId="7487"/>
            <ac:spMk id="18" creationId="{FC8E233F-76F6-436F-8900-86290260040E}"/>
          </ac:spMkLst>
        </pc:spChg>
        <pc:spChg chg="mod">
          <ac:chgData name="Kishor Kukreja" userId="4b679245-99ba-4686-ad2a-c800244b8fab" providerId="ADAL" clId="{C965E74B-565A-4447-B031-34794DCAFFCE}" dt="2021-12-13T18:18:19.184" v="2967" actId="20577"/>
          <ac:spMkLst>
            <pc:docMk/>
            <pc:sldMk cId="3481377285" sldId="7487"/>
            <ac:spMk id="19" creationId="{D78DA6A3-F7BC-495A-BA9D-92083BE41DE9}"/>
          </ac:spMkLst>
        </pc:spChg>
        <pc:spChg chg="mod">
          <ac:chgData name="Kishor Kukreja" userId="4b679245-99ba-4686-ad2a-c800244b8fab" providerId="ADAL" clId="{C965E74B-565A-4447-B031-34794DCAFFCE}" dt="2021-12-13T17:04:40.676" v="1005" actId="1076"/>
          <ac:spMkLst>
            <pc:docMk/>
            <pc:sldMk cId="3481377285" sldId="7487"/>
            <ac:spMk id="20" creationId="{E1C47C1B-05FE-4433-9C2A-714BDB4A8327}"/>
          </ac:spMkLst>
        </pc:spChg>
        <pc:spChg chg="mod">
          <ac:chgData name="Kishor Kukreja" userId="4b679245-99ba-4686-ad2a-c800244b8fab" providerId="ADAL" clId="{C965E74B-565A-4447-B031-34794DCAFFCE}" dt="2021-12-13T17:04:40.676" v="1005" actId="1076"/>
          <ac:spMkLst>
            <pc:docMk/>
            <pc:sldMk cId="3481377285" sldId="7487"/>
            <ac:spMk id="21" creationId="{C89C2C91-9DC6-4B01-A239-569714760F75}"/>
          </ac:spMkLst>
        </pc:spChg>
        <pc:spChg chg="mod">
          <ac:chgData name="Kishor Kukreja" userId="4b679245-99ba-4686-ad2a-c800244b8fab" providerId="ADAL" clId="{C965E74B-565A-4447-B031-34794DCAFFCE}" dt="2021-12-13T17:04:40.676" v="1005" actId="1076"/>
          <ac:spMkLst>
            <pc:docMk/>
            <pc:sldMk cId="3481377285" sldId="7487"/>
            <ac:spMk id="22" creationId="{72CAA6B7-536A-4FFE-8902-C63A2DF1B9DD}"/>
          </ac:spMkLst>
        </pc:spChg>
        <pc:spChg chg="mod">
          <ac:chgData name="Kishor Kukreja" userId="4b679245-99ba-4686-ad2a-c800244b8fab" providerId="ADAL" clId="{C965E74B-565A-4447-B031-34794DCAFFCE}" dt="2021-12-13T17:04:40.676" v="1005" actId="1076"/>
          <ac:spMkLst>
            <pc:docMk/>
            <pc:sldMk cId="3481377285" sldId="7487"/>
            <ac:spMk id="24" creationId="{C7CE3E09-7755-412C-A27A-7A3C8B2509DE}"/>
          </ac:spMkLst>
        </pc:spChg>
        <pc:spChg chg="mod">
          <ac:chgData name="Kishor Kukreja" userId="4b679245-99ba-4686-ad2a-c800244b8fab" providerId="ADAL" clId="{C965E74B-565A-4447-B031-34794DCAFFCE}" dt="2021-12-13T17:04:40.676" v="1005" actId="1076"/>
          <ac:spMkLst>
            <pc:docMk/>
            <pc:sldMk cId="3481377285" sldId="7487"/>
            <ac:spMk id="25" creationId="{D91421DA-E39C-4F59-A52E-6038B5B766C7}"/>
          </ac:spMkLst>
        </pc:spChg>
        <pc:spChg chg="mod">
          <ac:chgData name="Kishor Kukreja" userId="4b679245-99ba-4686-ad2a-c800244b8fab" providerId="ADAL" clId="{C965E74B-565A-4447-B031-34794DCAFFCE}" dt="2021-12-13T17:04:40.676" v="1005" actId="1076"/>
          <ac:spMkLst>
            <pc:docMk/>
            <pc:sldMk cId="3481377285" sldId="7487"/>
            <ac:spMk id="27" creationId="{BD71999B-CAAC-4EBD-A48C-FB75E557055B}"/>
          </ac:spMkLst>
        </pc:spChg>
        <pc:spChg chg="mod">
          <ac:chgData name="Kishor Kukreja" userId="4b679245-99ba-4686-ad2a-c800244b8fab" providerId="ADAL" clId="{C965E74B-565A-4447-B031-34794DCAFFCE}" dt="2021-12-13T17:04:40.676" v="1005" actId="1076"/>
          <ac:spMkLst>
            <pc:docMk/>
            <pc:sldMk cId="3481377285" sldId="7487"/>
            <ac:spMk id="28" creationId="{03CBD150-36C0-4834-B848-3E4E62012CDB}"/>
          </ac:spMkLst>
        </pc:spChg>
        <pc:spChg chg="mod">
          <ac:chgData name="Kishor Kukreja" userId="4b679245-99ba-4686-ad2a-c800244b8fab" providerId="ADAL" clId="{C965E74B-565A-4447-B031-34794DCAFFCE}" dt="2021-12-13T17:04:40.676" v="1005" actId="1076"/>
          <ac:spMkLst>
            <pc:docMk/>
            <pc:sldMk cId="3481377285" sldId="7487"/>
            <ac:spMk id="31" creationId="{3FEC005D-9E3D-4176-8C43-237914AC573B}"/>
          </ac:spMkLst>
        </pc:spChg>
        <pc:spChg chg="mod">
          <ac:chgData name="Kishor Kukreja" userId="4b679245-99ba-4686-ad2a-c800244b8fab" providerId="ADAL" clId="{C965E74B-565A-4447-B031-34794DCAFFCE}" dt="2021-12-13T17:04:40.676" v="1005" actId="1076"/>
          <ac:spMkLst>
            <pc:docMk/>
            <pc:sldMk cId="3481377285" sldId="7487"/>
            <ac:spMk id="39" creationId="{06A57840-A788-47B3-B048-2C7B7AB636DA}"/>
          </ac:spMkLst>
        </pc:spChg>
        <pc:grpChg chg="mod">
          <ac:chgData name="Kishor Kukreja" userId="4b679245-99ba-4686-ad2a-c800244b8fab" providerId="ADAL" clId="{C965E74B-565A-4447-B031-34794DCAFFCE}" dt="2021-12-13T17:04:40.676" v="1005" actId="1076"/>
          <ac:grpSpMkLst>
            <pc:docMk/>
            <pc:sldMk cId="3481377285" sldId="7487"/>
            <ac:grpSpMk id="16" creationId="{B96A6459-23F9-405B-B7E3-A765E09FE087}"/>
          </ac:grpSpMkLst>
        </pc:grpChg>
        <pc:grpChg chg="mod">
          <ac:chgData name="Kishor Kukreja" userId="4b679245-99ba-4686-ad2a-c800244b8fab" providerId="ADAL" clId="{C965E74B-565A-4447-B031-34794DCAFFCE}" dt="2021-12-13T17:04:40.676" v="1005" actId="1076"/>
          <ac:grpSpMkLst>
            <pc:docMk/>
            <pc:sldMk cId="3481377285" sldId="7487"/>
            <ac:grpSpMk id="17" creationId="{D4006F3B-7C57-4373-9D6F-C2DCAF774830}"/>
          </ac:grpSpMkLst>
        </pc:grpChg>
        <pc:picChg chg="add mod">
          <ac:chgData name="Kishor Kukreja" userId="4b679245-99ba-4686-ad2a-c800244b8fab" providerId="ADAL" clId="{C965E74B-565A-4447-B031-34794DCAFFCE}" dt="2021-12-13T21:16:44.436" v="8425"/>
          <ac:picMkLst>
            <pc:docMk/>
            <pc:sldMk cId="3481377285" sldId="7487"/>
            <ac:picMk id="29" creationId="{E1A1A10D-9A59-4519-8632-9C84E798749F}"/>
          </ac:picMkLst>
        </pc:picChg>
        <pc:picChg chg="add mod">
          <ac:chgData name="Kishor Kukreja" userId="4b679245-99ba-4686-ad2a-c800244b8fab" providerId="ADAL" clId="{C965E74B-565A-4447-B031-34794DCAFFCE}" dt="2021-12-13T18:12:02.133" v="2889" actId="14100"/>
          <ac:picMkLst>
            <pc:docMk/>
            <pc:sldMk cId="3481377285" sldId="7487"/>
            <ac:picMk id="1026" creationId="{272C3524-7CB9-49EE-B30C-0F08CA104DC3}"/>
          </ac:picMkLst>
        </pc:picChg>
        <pc:picChg chg="add mod">
          <ac:chgData name="Kishor Kukreja" userId="4b679245-99ba-4686-ad2a-c800244b8fab" providerId="ADAL" clId="{C965E74B-565A-4447-B031-34794DCAFFCE}" dt="2021-12-13T18:12:21.421" v="2893" actId="1076"/>
          <ac:picMkLst>
            <pc:docMk/>
            <pc:sldMk cId="3481377285" sldId="7487"/>
            <ac:picMk id="1028" creationId="{7867E8A3-A733-4FEC-9B64-CA2265272D77}"/>
          </ac:picMkLst>
        </pc:picChg>
        <pc:picChg chg="del mod">
          <ac:chgData name="Kishor Kukreja" userId="4b679245-99ba-4686-ad2a-c800244b8fab" providerId="ADAL" clId="{C965E74B-565A-4447-B031-34794DCAFFCE}" dt="2021-12-13T18:12:16.192" v="2891" actId="478"/>
          <ac:picMkLst>
            <pc:docMk/>
            <pc:sldMk cId="3481377285" sldId="7487"/>
            <ac:picMk id="8194" creationId="{CBDABD4A-7300-49CE-9401-4CDD06D4CB8A}"/>
          </ac:picMkLst>
        </pc:picChg>
        <pc:picChg chg="del mod">
          <ac:chgData name="Kishor Kukreja" userId="4b679245-99ba-4686-ad2a-c800244b8fab" providerId="ADAL" clId="{C965E74B-565A-4447-B031-34794DCAFFCE}" dt="2021-12-13T18:11:56.912" v="2887" actId="478"/>
          <ac:picMkLst>
            <pc:docMk/>
            <pc:sldMk cId="3481377285" sldId="7487"/>
            <ac:picMk id="8200" creationId="{E0669A42-FD01-4218-829B-C1AFE6AD9CD1}"/>
          </ac:picMkLst>
        </pc:picChg>
        <pc:picChg chg="mod">
          <ac:chgData name="Kishor Kukreja" userId="4b679245-99ba-4686-ad2a-c800244b8fab" providerId="ADAL" clId="{C965E74B-565A-4447-B031-34794DCAFFCE}" dt="2021-12-13T17:05:19.083" v="1012" actId="1076"/>
          <ac:picMkLst>
            <pc:docMk/>
            <pc:sldMk cId="3481377285" sldId="7487"/>
            <ac:picMk id="8202" creationId="{ED82697C-4489-4EAE-A09F-682B4E3A79B4}"/>
          </ac:picMkLst>
        </pc:picChg>
        <pc:picChg chg="mod">
          <ac:chgData name="Kishor Kukreja" userId="4b679245-99ba-4686-ad2a-c800244b8fab" providerId="ADAL" clId="{C965E74B-565A-4447-B031-34794DCAFFCE}" dt="2021-12-13T17:05:15.649" v="1010" actId="1076"/>
          <ac:picMkLst>
            <pc:docMk/>
            <pc:sldMk cId="3481377285" sldId="7487"/>
            <ac:picMk id="8204" creationId="{959A13D9-ADFE-433E-B1C1-11E44C2566D6}"/>
          </ac:picMkLst>
        </pc:picChg>
      </pc:sldChg>
      <pc:sldChg chg="add del">
        <pc:chgData name="Kishor Kukreja" userId="4b679245-99ba-4686-ad2a-c800244b8fab" providerId="ADAL" clId="{C965E74B-565A-4447-B031-34794DCAFFCE}" dt="2021-12-13T20:34:22.978" v="7377" actId="47"/>
        <pc:sldMkLst>
          <pc:docMk/>
          <pc:sldMk cId="886232323" sldId="7495"/>
        </pc:sldMkLst>
      </pc:sldChg>
      <pc:sldChg chg="modSp add del mod modClrScheme chgLayout">
        <pc:chgData name="Kishor Kukreja" userId="4b679245-99ba-4686-ad2a-c800244b8fab" providerId="ADAL" clId="{C965E74B-565A-4447-B031-34794DCAFFCE}" dt="2021-12-13T16:45:07.547" v="9" actId="47"/>
        <pc:sldMkLst>
          <pc:docMk/>
          <pc:sldMk cId="2411098732" sldId="2142532281"/>
        </pc:sldMkLst>
        <pc:spChg chg="mod ord">
          <ac:chgData name="Kishor Kukreja" userId="4b679245-99ba-4686-ad2a-c800244b8fab" providerId="ADAL" clId="{C965E74B-565A-4447-B031-34794DCAFFCE}" dt="2021-12-13T16:45:00.871" v="8" actId="700"/>
          <ac:spMkLst>
            <pc:docMk/>
            <pc:sldMk cId="2411098732" sldId="2142532281"/>
            <ac:spMk id="2" creationId="{F653CA67-47DD-4A0F-8988-022A15EA97F1}"/>
          </ac:spMkLst>
        </pc:spChg>
        <pc:spChg chg="mod ord">
          <ac:chgData name="Kishor Kukreja" userId="4b679245-99ba-4686-ad2a-c800244b8fab" providerId="ADAL" clId="{C965E74B-565A-4447-B031-34794DCAFFCE}" dt="2021-12-13T16:45:00.871" v="8" actId="700"/>
          <ac:spMkLst>
            <pc:docMk/>
            <pc:sldMk cId="2411098732" sldId="2142532281"/>
            <ac:spMk id="3" creationId="{11228631-65E5-4532-A33A-9BFF9DDEFD7D}"/>
          </ac:spMkLst>
        </pc:spChg>
        <pc:spChg chg="mod ord">
          <ac:chgData name="Kishor Kukreja" userId="4b679245-99ba-4686-ad2a-c800244b8fab" providerId="ADAL" clId="{C965E74B-565A-4447-B031-34794DCAFFCE}" dt="2021-12-13T16:45:00.871" v="8" actId="700"/>
          <ac:spMkLst>
            <pc:docMk/>
            <pc:sldMk cId="2411098732" sldId="2142532281"/>
            <ac:spMk id="12" creationId="{0FE40EA7-8F4B-4616-9E37-54852615ED86}"/>
          </ac:spMkLst>
        </pc:spChg>
      </pc:sldChg>
      <pc:sldChg chg="del">
        <pc:chgData name="Kishor Kukreja" userId="4b679245-99ba-4686-ad2a-c800244b8fab" providerId="ADAL" clId="{C965E74B-565A-4447-B031-34794DCAFFCE}" dt="2021-12-13T20:34:18.933" v="7371" actId="47"/>
        <pc:sldMkLst>
          <pc:docMk/>
          <pc:sldMk cId="1976210903" sldId="2147375544"/>
        </pc:sldMkLst>
      </pc:sldChg>
      <pc:sldChg chg="del">
        <pc:chgData name="Kishor Kukreja" userId="4b679245-99ba-4686-ad2a-c800244b8fab" providerId="ADAL" clId="{C965E74B-565A-4447-B031-34794DCAFFCE}" dt="2021-12-13T20:34:13.933" v="7360" actId="47"/>
        <pc:sldMkLst>
          <pc:docMk/>
          <pc:sldMk cId="2173247726" sldId="2147375545"/>
        </pc:sldMkLst>
      </pc:sldChg>
      <pc:sldChg chg="del">
        <pc:chgData name="Kishor Kukreja" userId="4b679245-99ba-4686-ad2a-c800244b8fab" providerId="ADAL" clId="{C965E74B-565A-4447-B031-34794DCAFFCE}" dt="2021-12-13T20:34:16.257" v="7365" actId="47"/>
        <pc:sldMkLst>
          <pc:docMk/>
          <pc:sldMk cId="4088912234" sldId="2147375548"/>
        </pc:sldMkLst>
      </pc:sldChg>
      <pc:sldChg chg="del">
        <pc:chgData name="Kishor Kukreja" userId="4b679245-99ba-4686-ad2a-c800244b8fab" providerId="ADAL" clId="{C965E74B-565A-4447-B031-34794DCAFFCE}" dt="2021-12-13T20:34:16.661" v="7366" actId="47"/>
        <pc:sldMkLst>
          <pc:docMk/>
          <pc:sldMk cId="3696928471" sldId="2147375549"/>
        </pc:sldMkLst>
      </pc:sldChg>
      <pc:sldChg chg="add del">
        <pc:chgData name="Kishor Kukreja" userId="4b679245-99ba-4686-ad2a-c800244b8fab" providerId="ADAL" clId="{C965E74B-565A-4447-B031-34794DCAFFCE}" dt="2021-12-13T20:34:17.144" v="7367" actId="47"/>
        <pc:sldMkLst>
          <pc:docMk/>
          <pc:sldMk cId="399114372" sldId="2147375550"/>
        </pc:sldMkLst>
      </pc:sldChg>
      <pc:sldChg chg="del">
        <pc:chgData name="Kishor Kukreja" userId="4b679245-99ba-4686-ad2a-c800244b8fab" providerId="ADAL" clId="{C965E74B-565A-4447-B031-34794DCAFFCE}" dt="2021-12-13T20:34:17.598" v="7368" actId="47"/>
        <pc:sldMkLst>
          <pc:docMk/>
          <pc:sldMk cId="364179356" sldId="2147375551"/>
        </pc:sldMkLst>
      </pc:sldChg>
      <pc:sldChg chg="del">
        <pc:chgData name="Kishor Kukreja" userId="4b679245-99ba-4686-ad2a-c800244b8fab" providerId="ADAL" clId="{C965E74B-565A-4447-B031-34794DCAFFCE}" dt="2021-12-13T20:34:18.093" v="7369" actId="47"/>
        <pc:sldMkLst>
          <pc:docMk/>
          <pc:sldMk cId="1518714354" sldId="2147375553"/>
        </pc:sldMkLst>
      </pc:sldChg>
      <pc:sldChg chg="del">
        <pc:chgData name="Kishor Kukreja" userId="4b679245-99ba-4686-ad2a-c800244b8fab" providerId="ADAL" clId="{C965E74B-565A-4447-B031-34794DCAFFCE}" dt="2021-12-13T20:34:15.940" v="7364" actId="47"/>
        <pc:sldMkLst>
          <pc:docMk/>
          <pc:sldMk cId="4182693753" sldId="2147375554"/>
        </pc:sldMkLst>
      </pc:sldChg>
      <pc:sldChg chg="del">
        <pc:chgData name="Kishor Kukreja" userId="4b679245-99ba-4686-ad2a-c800244b8fab" providerId="ADAL" clId="{C965E74B-565A-4447-B031-34794DCAFFCE}" dt="2021-12-13T20:34:15.160" v="7363" actId="47"/>
        <pc:sldMkLst>
          <pc:docMk/>
          <pc:sldMk cId="3331812067" sldId="2147375560"/>
        </pc:sldMkLst>
      </pc:sldChg>
      <pc:sldChg chg="del">
        <pc:chgData name="Kishor Kukreja" userId="4b679245-99ba-4686-ad2a-c800244b8fab" providerId="ADAL" clId="{C965E74B-565A-4447-B031-34794DCAFFCE}" dt="2021-12-13T20:34:14.552" v="7361" actId="47"/>
        <pc:sldMkLst>
          <pc:docMk/>
          <pc:sldMk cId="2572721253" sldId="2147375561"/>
        </pc:sldMkLst>
      </pc:sldChg>
      <pc:sldChg chg="del">
        <pc:chgData name="Kishor Kukreja" userId="4b679245-99ba-4686-ad2a-c800244b8fab" providerId="ADAL" clId="{C965E74B-565A-4447-B031-34794DCAFFCE}" dt="2021-12-13T20:34:14.946" v="7362" actId="47"/>
        <pc:sldMkLst>
          <pc:docMk/>
          <pc:sldMk cId="1990541624" sldId="2147375562"/>
        </pc:sldMkLst>
      </pc:sldChg>
      <pc:sldChg chg="del">
        <pc:chgData name="Kishor Kukreja" userId="4b679245-99ba-4686-ad2a-c800244b8fab" providerId="ADAL" clId="{C965E74B-565A-4447-B031-34794DCAFFCE}" dt="2021-12-13T16:51:22.545" v="147" actId="47"/>
        <pc:sldMkLst>
          <pc:docMk/>
          <pc:sldMk cId="1384816287" sldId="2147375563"/>
        </pc:sldMkLst>
      </pc:sldChg>
      <pc:sldChg chg="del">
        <pc:chgData name="Kishor Kukreja" userId="4b679245-99ba-4686-ad2a-c800244b8fab" providerId="ADAL" clId="{C965E74B-565A-4447-B031-34794DCAFFCE}" dt="2021-12-13T20:34:22.529" v="7376" actId="47"/>
        <pc:sldMkLst>
          <pc:docMk/>
          <pc:sldMk cId="3836446864" sldId="2147375564"/>
        </pc:sldMkLst>
      </pc:sldChg>
      <pc:sldChg chg="del">
        <pc:chgData name="Kishor Kukreja" userId="4b679245-99ba-4686-ad2a-c800244b8fab" providerId="ADAL" clId="{C965E74B-565A-4447-B031-34794DCAFFCE}" dt="2021-12-13T20:34:18.501" v="7370" actId="47"/>
        <pc:sldMkLst>
          <pc:docMk/>
          <pc:sldMk cId="2861818745" sldId="2147375565"/>
        </pc:sldMkLst>
      </pc:sldChg>
      <pc:sldChg chg="del">
        <pc:chgData name="Kishor Kukreja" userId="4b679245-99ba-4686-ad2a-c800244b8fab" providerId="ADAL" clId="{C965E74B-565A-4447-B031-34794DCAFFCE}" dt="2021-12-13T20:34:19.418" v="7372" actId="47"/>
        <pc:sldMkLst>
          <pc:docMk/>
          <pc:sldMk cId="4023189848" sldId="2147375566"/>
        </pc:sldMkLst>
      </pc:sldChg>
      <pc:sldChg chg="del">
        <pc:chgData name="Kishor Kukreja" userId="4b679245-99ba-4686-ad2a-c800244b8fab" providerId="ADAL" clId="{C965E74B-565A-4447-B031-34794DCAFFCE}" dt="2021-12-13T20:34:20.494" v="7374" actId="47"/>
        <pc:sldMkLst>
          <pc:docMk/>
          <pc:sldMk cId="2742429745" sldId="2147375567"/>
        </pc:sldMkLst>
      </pc:sldChg>
      <pc:sldChg chg="del">
        <pc:chgData name="Kishor Kukreja" userId="4b679245-99ba-4686-ad2a-c800244b8fab" providerId="ADAL" clId="{C965E74B-565A-4447-B031-34794DCAFFCE}" dt="2021-12-13T20:34:20.971" v="7375" actId="47"/>
        <pc:sldMkLst>
          <pc:docMk/>
          <pc:sldMk cId="1692455489" sldId="2147375568"/>
        </pc:sldMkLst>
      </pc:sldChg>
      <pc:sldChg chg="del">
        <pc:chgData name="Kishor Kukreja" userId="4b679245-99ba-4686-ad2a-c800244b8fab" providerId="ADAL" clId="{C965E74B-565A-4447-B031-34794DCAFFCE}" dt="2021-12-13T20:34:20.047" v="7373" actId="47"/>
        <pc:sldMkLst>
          <pc:docMk/>
          <pc:sldMk cId="2797246567" sldId="2147375569"/>
        </pc:sldMkLst>
      </pc:sldChg>
      <pc:sldChg chg="addSp modSp add mod ord">
        <pc:chgData name="Kishor Kukreja" userId="4b679245-99ba-4686-ad2a-c800244b8fab" providerId="ADAL" clId="{C965E74B-565A-4447-B031-34794DCAFFCE}" dt="2021-12-13T21:22:17.603" v="8462" actId="1076"/>
        <pc:sldMkLst>
          <pc:docMk/>
          <pc:sldMk cId="4155430291" sldId="2147375570"/>
        </pc:sldMkLst>
        <pc:spChg chg="mod">
          <ac:chgData name="Kishor Kukreja" userId="4b679245-99ba-4686-ad2a-c800244b8fab" providerId="ADAL" clId="{C965E74B-565A-4447-B031-34794DCAFFCE}" dt="2021-12-13T21:22:17.603" v="8462" actId="1076"/>
          <ac:spMkLst>
            <pc:docMk/>
            <pc:sldMk cId="4155430291" sldId="2147375570"/>
            <ac:spMk id="3" creationId="{2548CBD9-BE72-4CF0-B14F-11EBDD5687BA}"/>
          </ac:spMkLst>
        </pc:spChg>
        <pc:spChg chg="mod">
          <ac:chgData name="Kishor Kukreja" userId="4b679245-99ba-4686-ad2a-c800244b8fab" providerId="ADAL" clId="{C965E74B-565A-4447-B031-34794DCAFFCE}" dt="2021-12-13T21:17:03.780" v="8430" actId="20577"/>
          <ac:spMkLst>
            <pc:docMk/>
            <pc:sldMk cId="4155430291" sldId="2147375570"/>
            <ac:spMk id="4" creationId="{DB2028FE-FC7A-4899-B507-56DA4CB7B763}"/>
          </ac:spMkLst>
        </pc:spChg>
        <pc:picChg chg="add mod">
          <ac:chgData name="Kishor Kukreja" userId="4b679245-99ba-4686-ad2a-c800244b8fab" providerId="ADAL" clId="{C965E74B-565A-4447-B031-34794DCAFFCE}" dt="2021-12-13T18:13:06.031" v="2909" actId="1038"/>
          <ac:picMkLst>
            <pc:docMk/>
            <pc:sldMk cId="4155430291" sldId="2147375570"/>
            <ac:picMk id="5" creationId="{EA921F57-0553-4076-B54E-64F8E40CA32A}"/>
          </ac:picMkLst>
        </pc:picChg>
      </pc:sldChg>
      <pc:sldChg chg="addSp modSp add mod">
        <pc:chgData name="Kishor Kukreja" userId="4b679245-99ba-4686-ad2a-c800244b8fab" providerId="ADAL" clId="{C965E74B-565A-4447-B031-34794DCAFFCE}" dt="2021-12-13T21:22:10.918" v="8461" actId="1076"/>
        <pc:sldMkLst>
          <pc:docMk/>
          <pc:sldMk cId="1114140268" sldId="2147375571"/>
        </pc:sldMkLst>
        <pc:spChg chg="mod">
          <ac:chgData name="Kishor Kukreja" userId="4b679245-99ba-4686-ad2a-c800244b8fab" providerId="ADAL" clId="{C965E74B-565A-4447-B031-34794DCAFFCE}" dt="2021-12-13T21:22:10.918" v="8461" actId="1076"/>
          <ac:spMkLst>
            <pc:docMk/>
            <pc:sldMk cId="1114140268" sldId="2147375571"/>
            <ac:spMk id="3" creationId="{2548CBD9-BE72-4CF0-B14F-11EBDD5687BA}"/>
          </ac:spMkLst>
        </pc:spChg>
        <pc:spChg chg="mod">
          <ac:chgData name="Kishor Kukreja" userId="4b679245-99ba-4686-ad2a-c800244b8fab" providerId="ADAL" clId="{C965E74B-565A-4447-B031-34794DCAFFCE}" dt="2021-12-13T21:17:16.636" v="8433" actId="20577"/>
          <ac:spMkLst>
            <pc:docMk/>
            <pc:sldMk cId="1114140268" sldId="2147375571"/>
            <ac:spMk id="4" creationId="{DB2028FE-FC7A-4899-B507-56DA4CB7B763}"/>
          </ac:spMkLst>
        </pc:spChg>
        <pc:picChg chg="add mod">
          <ac:chgData name="Kishor Kukreja" userId="4b679245-99ba-4686-ad2a-c800244b8fab" providerId="ADAL" clId="{C965E74B-565A-4447-B031-34794DCAFFCE}" dt="2021-12-13T18:17:54.723" v="2957"/>
          <ac:picMkLst>
            <pc:docMk/>
            <pc:sldMk cId="1114140268" sldId="2147375571"/>
            <ac:picMk id="5" creationId="{88B1EF82-5CAF-4ADA-AFD2-BE2648F418B3}"/>
          </ac:picMkLst>
        </pc:picChg>
      </pc:sldChg>
      <pc:sldChg chg="addSp delSp modSp new mod ord setBg modClrScheme chgLayout">
        <pc:chgData name="Kishor Kukreja" userId="4b679245-99ba-4686-ad2a-c800244b8fab" providerId="ADAL" clId="{C965E74B-565A-4447-B031-34794DCAFFCE}" dt="2021-12-13T21:16:40.272" v="8424" actId="1076"/>
        <pc:sldMkLst>
          <pc:docMk/>
          <pc:sldMk cId="3964187530" sldId="2147375572"/>
        </pc:sldMkLst>
        <pc:spChg chg="del">
          <ac:chgData name="Kishor Kukreja" userId="4b679245-99ba-4686-ad2a-c800244b8fab" providerId="ADAL" clId="{C965E74B-565A-4447-B031-34794DCAFFCE}" dt="2021-12-13T17:08:16.669" v="1041" actId="700"/>
          <ac:spMkLst>
            <pc:docMk/>
            <pc:sldMk cId="3964187530" sldId="2147375572"/>
            <ac:spMk id="2" creationId="{E097B279-410C-48B9-B44F-4928B0946518}"/>
          </ac:spMkLst>
        </pc:spChg>
        <pc:spChg chg="del">
          <ac:chgData name="Kishor Kukreja" userId="4b679245-99ba-4686-ad2a-c800244b8fab" providerId="ADAL" clId="{C965E74B-565A-4447-B031-34794DCAFFCE}" dt="2021-12-13T17:08:16.669" v="1041" actId="700"/>
          <ac:spMkLst>
            <pc:docMk/>
            <pc:sldMk cId="3964187530" sldId="2147375572"/>
            <ac:spMk id="3" creationId="{3A9C160B-DA9B-4005-8358-79B58E1ABE56}"/>
          </ac:spMkLst>
        </pc:spChg>
        <pc:spChg chg="add del">
          <ac:chgData name="Kishor Kukreja" userId="4b679245-99ba-4686-ad2a-c800244b8fab" providerId="ADAL" clId="{C965E74B-565A-4447-B031-34794DCAFFCE}" dt="2021-12-13T17:10:19.742" v="1065" actId="26606"/>
          <ac:spMkLst>
            <pc:docMk/>
            <pc:sldMk cId="3964187530" sldId="2147375572"/>
            <ac:spMk id="7" creationId="{F3060C83-F051-4F0E-ABAD-AA0DFC48B218}"/>
          </ac:spMkLst>
        </pc:spChg>
        <pc:spChg chg="add del">
          <ac:chgData name="Kishor Kukreja" userId="4b679245-99ba-4686-ad2a-c800244b8fab" providerId="ADAL" clId="{C965E74B-565A-4447-B031-34794DCAFFCE}" dt="2021-12-13T17:10:19.742" v="1065" actId="26606"/>
          <ac:spMkLst>
            <pc:docMk/>
            <pc:sldMk cId="3964187530" sldId="2147375572"/>
            <ac:spMk id="8" creationId="{83C98ABE-055B-441F-B07E-44F97F083C39}"/>
          </ac:spMkLst>
        </pc:spChg>
        <pc:spChg chg="add del">
          <ac:chgData name="Kishor Kukreja" userId="4b679245-99ba-4686-ad2a-c800244b8fab" providerId="ADAL" clId="{C965E74B-565A-4447-B031-34794DCAFFCE}" dt="2021-12-13T17:10:19.742" v="1065" actId="26606"/>
          <ac:spMkLst>
            <pc:docMk/>
            <pc:sldMk cId="3964187530" sldId="2147375572"/>
            <ac:spMk id="9" creationId="{29FDB030-9B49-4CED-8CCD-4D99382388AC}"/>
          </ac:spMkLst>
        </pc:spChg>
        <pc:spChg chg="add del">
          <ac:chgData name="Kishor Kukreja" userId="4b679245-99ba-4686-ad2a-c800244b8fab" providerId="ADAL" clId="{C965E74B-565A-4447-B031-34794DCAFFCE}" dt="2021-12-13T17:10:01.792" v="1053" actId="26606"/>
          <ac:spMkLst>
            <pc:docMk/>
            <pc:sldMk cId="3964187530" sldId="2147375572"/>
            <ac:spMk id="10" creationId="{22F15A2D-2324-487D-A02A-BF46C5C580EB}"/>
          </ac:spMkLst>
        </pc:spChg>
        <pc:spChg chg="add del">
          <ac:chgData name="Kishor Kukreja" userId="4b679245-99ba-4686-ad2a-c800244b8fab" providerId="ADAL" clId="{C965E74B-565A-4447-B031-34794DCAFFCE}" dt="2021-12-13T17:10:19.742" v="1065" actId="26606"/>
          <ac:spMkLst>
            <pc:docMk/>
            <pc:sldMk cId="3964187530" sldId="2147375572"/>
            <ac:spMk id="11" creationId="{3783CA14-24A1-485C-8B30-D6A5D87987AD}"/>
          </ac:spMkLst>
        </pc:spChg>
        <pc:spChg chg="add del">
          <ac:chgData name="Kishor Kukreja" userId="4b679245-99ba-4686-ad2a-c800244b8fab" providerId="ADAL" clId="{C965E74B-565A-4447-B031-34794DCAFFCE}" dt="2021-12-13T17:10:01.792" v="1053" actId="26606"/>
          <ac:spMkLst>
            <pc:docMk/>
            <pc:sldMk cId="3964187530" sldId="2147375572"/>
            <ac:spMk id="12" creationId="{2AEAFA59-923A-4F54-8B49-44C970BCC323}"/>
          </ac:spMkLst>
        </pc:spChg>
        <pc:spChg chg="add del">
          <ac:chgData name="Kishor Kukreja" userId="4b679245-99ba-4686-ad2a-c800244b8fab" providerId="ADAL" clId="{C965E74B-565A-4447-B031-34794DCAFFCE}" dt="2021-12-13T17:10:19.742" v="1065" actId="26606"/>
          <ac:spMkLst>
            <pc:docMk/>
            <pc:sldMk cId="3964187530" sldId="2147375572"/>
            <ac:spMk id="13" creationId="{9A97C86A-04D6-40F7-AE84-31AB43E6A846}"/>
          </ac:spMkLst>
        </pc:spChg>
        <pc:spChg chg="add del">
          <ac:chgData name="Kishor Kukreja" userId="4b679245-99ba-4686-ad2a-c800244b8fab" providerId="ADAL" clId="{C965E74B-565A-4447-B031-34794DCAFFCE}" dt="2021-12-13T17:10:01.792" v="1053" actId="26606"/>
          <ac:spMkLst>
            <pc:docMk/>
            <pc:sldMk cId="3964187530" sldId="2147375572"/>
            <ac:spMk id="14" creationId="{C37E9D4B-7BFA-4D10-B666-547BAC499469}"/>
          </ac:spMkLst>
        </pc:spChg>
        <pc:spChg chg="add del">
          <ac:chgData name="Kishor Kukreja" userId="4b679245-99ba-4686-ad2a-c800244b8fab" providerId="ADAL" clId="{C965E74B-565A-4447-B031-34794DCAFFCE}" dt="2021-12-13T17:10:19.742" v="1065" actId="26606"/>
          <ac:spMkLst>
            <pc:docMk/>
            <pc:sldMk cId="3964187530" sldId="2147375572"/>
            <ac:spMk id="15" creationId="{FF9F2414-84E8-453E-B1F3-389FDE8192D9}"/>
          </ac:spMkLst>
        </pc:spChg>
        <pc:spChg chg="add del">
          <ac:chgData name="Kishor Kukreja" userId="4b679245-99ba-4686-ad2a-c800244b8fab" providerId="ADAL" clId="{C965E74B-565A-4447-B031-34794DCAFFCE}" dt="2021-12-13T17:10:05.261" v="1055" actId="26606"/>
          <ac:spMkLst>
            <pc:docMk/>
            <pc:sldMk cId="3964187530" sldId="2147375572"/>
            <ac:spMk id="16" creationId="{16B067B1-F4E5-4FDF-813D-C9E872E80075}"/>
          </ac:spMkLst>
        </pc:spChg>
        <pc:spChg chg="add del">
          <ac:chgData name="Kishor Kukreja" userId="4b679245-99ba-4686-ad2a-c800244b8fab" providerId="ADAL" clId="{C965E74B-565A-4447-B031-34794DCAFFCE}" dt="2021-12-13T17:10:19.742" v="1065" actId="26606"/>
          <ac:spMkLst>
            <pc:docMk/>
            <pc:sldMk cId="3964187530" sldId="2147375572"/>
            <ac:spMk id="17" creationId="{3ECA69A1-7536-43AC-85EF-C7106179F5ED}"/>
          </ac:spMkLst>
        </pc:spChg>
        <pc:spChg chg="add del">
          <ac:chgData name="Kishor Kukreja" userId="4b679245-99ba-4686-ad2a-c800244b8fab" providerId="ADAL" clId="{C965E74B-565A-4447-B031-34794DCAFFCE}" dt="2021-12-13T17:10:08.430" v="1057" actId="26606"/>
          <ac:spMkLst>
            <pc:docMk/>
            <pc:sldMk cId="3964187530" sldId="2147375572"/>
            <ac:spMk id="18" creationId="{B9FF99BD-075F-4761-A995-6FC574BD25EA}"/>
          </ac:spMkLst>
        </pc:spChg>
        <pc:spChg chg="add del">
          <ac:chgData name="Kishor Kukreja" userId="4b679245-99ba-4686-ad2a-c800244b8fab" providerId="ADAL" clId="{C965E74B-565A-4447-B031-34794DCAFFCE}" dt="2021-12-13T17:10:08.430" v="1057" actId="26606"/>
          <ac:spMkLst>
            <pc:docMk/>
            <pc:sldMk cId="3964187530" sldId="2147375572"/>
            <ac:spMk id="19" creationId="{A7B21A54-9BA3-4EA9-B460-5A829ADD9051}"/>
          </ac:spMkLst>
        </pc:spChg>
        <pc:spChg chg="add del">
          <ac:chgData name="Kishor Kukreja" userId="4b679245-99ba-4686-ad2a-c800244b8fab" providerId="ADAL" clId="{C965E74B-565A-4447-B031-34794DCAFFCE}" dt="2021-12-13T17:10:08.430" v="1057" actId="26606"/>
          <ac:spMkLst>
            <pc:docMk/>
            <pc:sldMk cId="3964187530" sldId="2147375572"/>
            <ac:spMk id="20" creationId="{6FA8F714-B9D8-488A-8CCA-E9948FF913A9}"/>
          </ac:spMkLst>
        </pc:spChg>
        <pc:spChg chg="add del">
          <ac:chgData name="Kishor Kukreja" userId="4b679245-99ba-4686-ad2a-c800244b8fab" providerId="ADAL" clId="{C965E74B-565A-4447-B031-34794DCAFFCE}" dt="2021-12-13T17:10:21.363" v="1067" actId="26606"/>
          <ac:spMkLst>
            <pc:docMk/>
            <pc:sldMk cId="3964187530" sldId="2147375572"/>
            <ac:spMk id="21" creationId="{22F15A2D-2324-487D-A02A-BF46C5C580EB}"/>
          </ac:spMkLst>
        </pc:spChg>
        <pc:spChg chg="add del">
          <ac:chgData name="Kishor Kukreja" userId="4b679245-99ba-4686-ad2a-c800244b8fab" providerId="ADAL" clId="{C965E74B-565A-4447-B031-34794DCAFFCE}" dt="2021-12-13T17:10:12.717" v="1059" actId="26606"/>
          <ac:spMkLst>
            <pc:docMk/>
            <pc:sldMk cId="3964187530" sldId="2147375572"/>
            <ac:spMk id="22" creationId="{16B067B1-F4E5-4FDF-813D-C9E872E80075}"/>
          </ac:spMkLst>
        </pc:spChg>
        <pc:spChg chg="add del">
          <ac:chgData name="Kishor Kukreja" userId="4b679245-99ba-4686-ad2a-c800244b8fab" providerId="ADAL" clId="{C965E74B-565A-4447-B031-34794DCAFFCE}" dt="2021-12-13T17:10:21.363" v="1067" actId="26606"/>
          <ac:spMkLst>
            <pc:docMk/>
            <pc:sldMk cId="3964187530" sldId="2147375572"/>
            <ac:spMk id="23" creationId="{17A7F34E-D418-47E2-9F86-2C45BBC31210}"/>
          </ac:spMkLst>
        </pc:spChg>
        <pc:spChg chg="add del">
          <ac:chgData name="Kishor Kukreja" userId="4b679245-99ba-4686-ad2a-c800244b8fab" providerId="ADAL" clId="{C965E74B-565A-4447-B031-34794DCAFFCE}" dt="2021-12-13T17:10:15.859" v="1061" actId="26606"/>
          <ac:spMkLst>
            <pc:docMk/>
            <pc:sldMk cId="3964187530" sldId="2147375572"/>
            <ac:spMk id="24" creationId="{01D0AF59-99C3-4251-AB9A-C966C6AD4400}"/>
          </ac:spMkLst>
        </pc:spChg>
        <pc:spChg chg="add del">
          <ac:chgData name="Kishor Kukreja" userId="4b679245-99ba-4686-ad2a-c800244b8fab" providerId="ADAL" clId="{C965E74B-565A-4447-B031-34794DCAFFCE}" dt="2021-12-13T17:10:15.859" v="1061" actId="26606"/>
          <ac:spMkLst>
            <pc:docMk/>
            <pc:sldMk cId="3964187530" sldId="2147375572"/>
            <ac:spMk id="25" creationId="{1855405F-37A2-4869-9154-F8BE3BECE6C3}"/>
          </ac:spMkLst>
        </pc:spChg>
        <pc:spChg chg="add del">
          <ac:chgData name="Kishor Kukreja" userId="4b679245-99ba-4686-ad2a-c800244b8fab" providerId="ADAL" clId="{C965E74B-565A-4447-B031-34794DCAFFCE}" dt="2021-12-13T17:10:21.363" v="1067" actId="26606"/>
          <ac:spMkLst>
            <pc:docMk/>
            <pc:sldMk cId="3964187530" sldId="2147375572"/>
            <ac:spMk id="26" creationId="{2AEAFA59-923A-4F54-8B49-44C970BCC323}"/>
          </ac:spMkLst>
        </pc:spChg>
        <pc:spChg chg="add del">
          <ac:chgData name="Kishor Kukreja" userId="4b679245-99ba-4686-ad2a-c800244b8fab" providerId="ADAL" clId="{C965E74B-565A-4447-B031-34794DCAFFCE}" dt="2021-12-13T17:10:21.898" v="1069" actId="26606"/>
          <ac:spMkLst>
            <pc:docMk/>
            <pc:sldMk cId="3964187530" sldId="2147375572"/>
            <ac:spMk id="28" creationId="{AB8C311F-7253-4AED-9701-7FC0708C41C7}"/>
          </ac:spMkLst>
        </pc:spChg>
        <pc:spChg chg="add del">
          <ac:chgData name="Kishor Kukreja" userId="4b679245-99ba-4686-ad2a-c800244b8fab" providerId="ADAL" clId="{C965E74B-565A-4447-B031-34794DCAFFCE}" dt="2021-12-13T17:10:21.898" v="1069" actId="26606"/>
          <ac:spMkLst>
            <pc:docMk/>
            <pc:sldMk cId="3964187530" sldId="2147375572"/>
            <ac:spMk id="29" creationId="{E2384209-CB15-4CDF-9D31-C44FD9A3F20D}"/>
          </ac:spMkLst>
        </pc:spChg>
        <pc:spChg chg="add del">
          <ac:chgData name="Kishor Kukreja" userId="4b679245-99ba-4686-ad2a-c800244b8fab" providerId="ADAL" clId="{C965E74B-565A-4447-B031-34794DCAFFCE}" dt="2021-12-13T17:10:21.898" v="1069" actId="26606"/>
          <ac:spMkLst>
            <pc:docMk/>
            <pc:sldMk cId="3964187530" sldId="2147375572"/>
            <ac:spMk id="30" creationId="{2633B3B5-CC90-43F0-8714-D31D1F3F0209}"/>
          </ac:spMkLst>
        </pc:spChg>
        <pc:spChg chg="add del">
          <ac:chgData name="Kishor Kukreja" userId="4b679245-99ba-4686-ad2a-c800244b8fab" providerId="ADAL" clId="{C965E74B-565A-4447-B031-34794DCAFFCE}" dt="2021-12-13T17:10:21.898" v="1069" actId="26606"/>
          <ac:spMkLst>
            <pc:docMk/>
            <pc:sldMk cId="3964187530" sldId="2147375572"/>
            <ac:spMk id="31" creationId="{A8D57A06-A426-446D-B02C-A2DC6B62E45E}"/>
          </ac:spMkLst>
        </pc:spChg>
        <pc:spChg chg="add">
          <ac:chgData name="Kishor Kukreja" userId="4b679245-99ba-4686-ad2a-c800244b8fab" providerId="ADAL" clId="{C965E74B-565A-4447-B031-34794DCAFFCE}" dt="2021-12-13T17:10:21.914" v="1070" actId="26606"/>
          <ac:spMkLst>
            <pc:docMk/>
            <pc:sldMk cId="3964187530" sldId="2147375572"/>
            <ac:spMk id="33" creationId="{22F15A2D-2324-487D-A02A-BF46C5C580EB}"/>
          </ac:spMkLst>
        </pc:spChg>
        <pc:spChg chg="add">
          <ac:chgData name="Kishor Kukreja" userId="4b679245-99ba-4686-ad2a-c800244b8fab" providerId="ADAL" clId="{C965E74B-565A-4447-B031-34794DCAFFCE}" dt="2021-12-13T17:10:21.914" v="1070" actId="26606"/>
          <ac:spMkLst>
            <pc:docMk/>
            <pc:sldMk cId="3964187530" sldId="2147375572"/>
            <ac:spMk id="34" creationId="{2AEAFA59-923A-4F54-8B49-44C970BCC323}"/>
          </ac:spMkLst>
        </pc:spChg>
        <pc:spChg chg="add">
          <ac:chgData name="Kishor Kukreja" userId="4b679245-99ba-4686-ad2a-c800244b8fab" providerId="ADAL" clId="{C965E74B-565A-4447-B031-34794DCAFFCE}" dt="2021-12-13T17:10:21.914" v="1070" actId="26606"/>
          <ac:spMkLst>
            <pc:docMk/>
            <pc:sldMk cId="3964187530" sldId="2147375572"/>
            <ac:spMk id="35" creationId="{C37E9D4B-7BFA-4D10-B666-547BAC499469}"/>
          </ac:spMkLst>
        </pc:spChg>
        <pc:spChg chg="add mod">
          <ac:chgData name="Kishor Kukreja" userId="4b679245-99ba-4686-ad2a-c800244b8fab" providerId="ADAL" clId="{C965E74B-565A-4447-B031-34794DCAFFCE}" dt="2021-12-13T18:16:34.460" v="2941" actId="1076"/>
          <ac:spMkLst>
            <pc:docMk/>
            <pc:sldMk cId="3964187530" sldId="2147375572"/>
            <ac:spMk id="36" creationId="{DA82BD71-B2AD-49F9-B968-F8C20507517C}"/>
          </ac:spMkLst>
        </pc:spChg>
        <pc:spChg chg="add mod">
          <ac:chgData name="Kishor Kukreja" userId="4b679245-99ba-4686-ad2a-c800244b8fab" providerId="ADAL" clId="{C965E74B-565A-4447-B031-34794DCAFFCE}" dt="2021-12-13T18:15:31.150" v="2934" actId="1076"/>
          <ac:spMkLst>
            <pc:docMk/>
            <pc:sldMk cId="3964187530" sldId="2147375572"/>
            <ac:spMk id="37" creationId="{3E58C1F4-8316-4BCD-9273-1977712AD662}"/>
          </ac:spMkLst>
        </pc:spChg>
        <pc:picChg chg="add mod modCrop">
          <ac:chgData name="Kishor Kukreja" userId="4b679245-99ba-4686-ad2a-c800244b8fab" providerId="ADAL" clId="{C965E74B-565A-4447-B031-34794DCAFFCE}" dt="2021-12-13T18:16:39.362" v="2942" actId="14100"/>
          <ac:picMkLst>
            <pc:docMk/>
            <pc:sldMk cId="3964187530" sldId="2147375572"/>
            <ac:picMk id="5" creationId="{430B63A9-9CB5-4B79-B0E7-A7C0FA124533}"/>
          </ac:picMkLst>
        </pc:picChg>
        <pc:picChg chg="add mod">
          <ac:chgData name="Kishor Kukreja" userId="4b679245-99ba-4686-ad2a-c800244b8fab" providerId="ADAL" clId="{C965E74B-565A-4447-B031-34794DCAFFCE}" dt="2021-12-13T21:16:40.272" v="8424" actId="1076"/>
          <ac:picMkLst>
            <pc:docMk/>
            <pc:sldMk cId="3964187530" sldId="2147375572"/>
            <ac:picMk id="38" creationId="{B87AA5C7-E7BA-4AD9-8EDA-79D650B60DFD}"/>
          </ac:picMkLst>
        </pc:picChg>
        <pc:picChg chg="add del mod">
          <ac:chgData name="Kishor Kukreja" userId="4b679245-99ba-4686-ad2a-c800244b8fab" providerId="ADAL" clId="{C965E74B-565A-4447-B031-34794DCAFFCE}" dt="2021-12-13T21:16:34.241" v="8422" actId="478"/>
          <ac:picMkLst>
            <pc:docMk/>
            <pc:sldMk cId="3964187530" sldId="2147375572"/>
            <ac:picMk id="8194" creationId="{DCF274B7-5DDC-486E-8549-4B9ABB6AAF55}"/>
          </ac:picMkLst>
        </pc:picChg>
      </pc:sldChg>
      <pc:sldChg chg="addSp delSp modSp add del mod">
        <pc:chgData name="Kishor Kukreja" userId="4b679245-99ba-4686-ad2a-c800244b8fab" providerId="ADAL" clId="{C965E74B-565A-4447-B031-34794DCAFFCE}" dt="2021-12-13T17:44:48.631" v="1999" actId="47"/>
        <pc:sldMkLst>
          <pc:docMk/>
          <pc:sldMk cId="405055099" sldId="2147375573"/>
        </pc:sldMkLst>
        <pc:spChg chg="add del mod">
          <ac:chgData name="Kishor Kukreja" userId="4b679245-99ba-4686-ad2a-c800244b8fab" providerId="ADAL" clId="{C965E74B-565A-4447-B031-34794DCAFFCE}" dt="2021-12-13T17:41:57.442" v="1951" actId="478"/>
          <ac:spMkLst>
            <pc:docMk/>
            <pc:sldMk cId="405055099" sldId="2147375573"/>
            <ac:spMk id="3" creationId="{F0446426-2444-4FCA-BC27-7260165BE135}"/>
          </ac:spMkLst>
        </pc:spChg>
        <pc:spChg chg="mod">
          <ac:chgData name="Kishor Kukreja" userId="4b679245-99ba-4686-ad2a-c800244b8fab" providerId="ADAL" clId="{C965E74B-565A-4447-B031-34794DCAFFCE}" dt="2021-12-13T17:41:35.435" v="1946" actId="20577"/>
          <ac:spMkLst>
            <pc:docMk/>
            <pc:sldMk cId="405055099" sldId="2147375573"/>
            <ac:spMk id="4" creationId="{A27CACEB-EFDC-4E71-B9FA-08C944B455EC}"/>
          </ac:spMkLst>
        </pc:spChg>
        <pc:spChg chg="mod">
          <ac:chgData name="Kishor Kukreja" userId="4b679245-99ba-4686-ad2a-c800244b8fab" providerId="ADAL" clId="{C965E74B-565A-4447-B031-34794DCAFFCE}" dt="2021-12-13T17:41:25.735" v="1938" actId="20577"/>
          <ac:spMkLst>
            <pc:docMk/>
            <pc:sldMk cId="405055099" sldId="2147375573"/>
            <ac:spMk id="6" creationId="{E53F94A5-AE46-4D80-8B17-322199D46E08}"/>
          </ac:spMkLst>
        </pc:spChg>
        <pc:spChg chg="del">
          <ac:chgData name="Kishor Kukreja" userId="4b679245-99ba-4686-ad2a-c800244b8fab" providerId="ADAL" clId="{C965E74B-565A-4447-B031-34794DCAFFCE}" dt="2021-12-13T17:41:55.087" v="1950" actId="478"/>
          <ac:spMkLst>
            <pc:docMk/>
            <pc:sldMk cId="405055099" sldId="2147375573"/>
            <ac:spMk id="7" creationId="{D0F26CF0-0A5B-45DC-A272-95F5EA63BC95}"/>
          </ac:spMkLst>
        </pc:spChg>
        <pc:spChg chg="del">
          <ac:chgData name="Kishor Kukreja" userId="4b679245-99ba-4686-ad2a-c800244b8fab" providerId="ADAL" clId="{C965E74B-565A-4447-B031-34794DCAFFCE}" dt="2021-12-13T17:41:55.087" v="1950" actId="478"/>
          <ac:spMkLst>
            <pc:docMk/>
            <pc:sldMk cId="405055099" sldId="2147375573"/>
            <ac:spMk id="8" creationId="{72F8FC2B-0BF2-441E-95C6-7A375140B17F}"/>
          </ac:spMkLst>
        </pc:spChg>
        <pc:spChg chg="add del mod">
          <ac:chgData name="Kishor Kukreja" userId="4b679245-99ba-4686-ad2a-c800244b8fab" providerId="ADAL" clId="{C965E74B-565A-4447-B031-34794DCAFFCE}" dt="2021-12-13T17:41:57.442" v="1951" actId="478"/>
          <ac:spMkLst>
            <pc:docMk/>
            <pc:sldMk cId="405055099" sldId="2147375573"/>
            <ac:spMk id="9" creationId="{FCF3FC4C-649C-4724-A157-989F93278806}"/>
          </ac:spMkLst>
        </pc:spChg>
        <pc:spChg chg="mod">
          <ac:chgData name="Kishor Kukreja" userId="4b679245-99ba-4686-ad2a-c800244b8fab" providerId="ADAL" clId="{C965E74B-565A-4447-B031-34794DCAFFCE}" dt="2021-12-13T17:43:11.163" v="1980" actId="20577"/>
          <ac:spMkLst>
            <pc:docMk/>
            <pc:sldMk cId="405055099" sldId="2147375573"/>
            <ac:spMk id="13" creationId="{B2DE0ABF-EFFE-4955-9F73-DEEC789C4CD5}"/>
          </ac:spMkLst>
        </pc:spChg>
        <pc:spChg chg="mod">
          <ac:chgData name="Kishor Kukreja" userId="4b679245-99ba-4686-ad2a-c800244b8fab" providerId="ADAL" clId="{C965E74B-565A-4447-B031-34794DCAFFCE}" dt="2021-12-13T17:43:03.917" v="1968" actId="20577"/>
          <ac:spMkLst>
            <pc:docMk/>
            <pc:sldMk cId="405055099" sldId="2147375573"/>
            <ac:spMk id="15" creationId="{A3AAA11E-189C-4733-A16A-DB08CD52FCDF}"/>
          </ac:spMkLst>
        </pc:spChg>
        <pc:spChg chg="del">
          <ac:chgData name="Kishor Kukreja" userId="4b679245-99ba-4686-ad2a-c800244b8fab" providerId="ADAL" clId="{C965E74B-565A-4447-B031-34794DCAFFCE}" dt="2021-12-13T17:41:55.087" v="1950" actId="478"/>
          <ac:spMkLst>
            <pc:docMk/>
            <pc:sldMk cId="405055099" sldId="2147375573"/>
            <ac:spMk id="16" creationId="{C47B573A-88D6-43B7-9815-345C50369982}"/>
          </ac:spMkLst>
        </pc:spChg>
        <pc:spChg chg="del">
          <ac:chgData name="Kishor Kukreja" userId="4b679245-99ba-4686-ad2a-c800244b8fab" providerId="ADAL" clId="{C965E74B-565A-4447-B031-34794DCAFFCE}" dt="2021-12-13T17:41:55.087" v="1950" actId="478"/>
          <ac:spMkLst>
            <pc:docMk/>
            <pc:sldMk cId="405055099" sldId="2147375573"/>
            <ac:spMk id="17" creationId="{E974D540-3DA3-4A69-887C-797C43485A2F}"/>
          </ac:spMkLst>
        </pc:spChg>
        <pc:spChg chg="add mod">
          <ac:chgData name="Kishor Kukreja" userId="4b679245-99ba-4686-ad2a-c800244b8fab" providerId="ADAL" clId="{C965E74B-565A-4447-B031-34794DCAFFCE}" dt="2021-12-13T17:41:02.438" v="1933"/>
          <ac:spMkLst>
            <pc:docMk/>
            <pc:sldMk cId="405055099" sldId="2147375573"/>
            <ac:spMk id="18" creationId="{7593A50C-8E29-4A50-9F81-5232895D122F}"/>
          </ac:spMkLst>
        </pc:spChg>
        <pc:spChg chg="del">
          <ac:chgData name="Kishor Kukreja" userId="4b679245-99ba-4686-ad2a-c800244b8fab" providerId="ADAL" clId="{C965E74B-565A-4447-B031-34794DCAFFCE}" dt="2021-12-13T17:41:55.087" v="1950" actId="478"/>
          <ac:spMkLst>
            <pc:docMk/>
            <pc:sldMk cId="405055099" sldId="2147375573"/>
            <ac:spMk id="20" creationId="{8061236B-F89C-4A29-99E9-1805415110E5}"/>
          </ac:spMkLst>
        </pc:spChg>
        <pc:spChg chg="del">
          <ac:chgData name="Kishor Kukreja" userId="4b679245-99ba-4686-ad2a-c800244b8fab" providerId="ADAL" clId="{C965E74B-565A-4447-B031-34794DCAFFCE}" dt="2021-12-13T17:41:55.087" v="1950" actId="478"/>
          <ac:spMkLst>
            <pc:docMk/>
            <pc:sldMk cId="405055099" sldId="2147375573"/>
            <ac:spMk id="21" creationId="{D544181A-155F-4F7A-9CB9-C41809D54336}"/>
          </ac:spMkLst>
        </pc:spChg>
        <pc:spChg chg="del">
          <ac:chgData name="Kishor Kukreja" userId="4b679245-99ba-4686-ad2a-c800244b8fab" providerId="ADAL" clId="{C965E74B-565A-4447-B031-34794DCAFFCE}" dt="2021-12-13T17:41:55.087" v="1950" actId="478"/>
          <ac:spMkLst>
            <pc:docMk/>
            <pc:sldMk cId="405055099" sldId="2147375573"/>
            <ac:spMk id="25" creationId="{05C46C98-99C9-4F31-8A39-0B0E4A3A4055}"/>
          </ac:spMkLst>
        </pc:spChg>
        <pc:picChg chg="add del mod">
          <ac:chgData name="Kishor Kukreja" userId="4b679245-99ba-4686-ad2a-c800244b8fab" providerId="ADAL" clId="{C965E74B-565A-4447-B031-34794DCAFFCE}" dt="2021-12-13T17:43:30.075" v="1981" actId="478"/>
          <ac:picMkLst>
            <pc:docMk/>
            <pc:sldMk cId="405055099" sldId="2147375573"/>
            <ac:picMk id="11" creationId="{3182A2A6-AE4A-4577-8585-8FA273616328}"/>
          </ac:picMkLst>
        </pc:picChg>
        <pc:picChg chg="add mod">
          <ac:chgData name="Kishor Kukreja" userId="4b679245-99ba-4686-ad2a-c800244b8fab" providerId="ADAL" clId="{C965E74B-565A-4447-B031-34794DCAFFCE}" dt="2021-12-13T17:43:45.191" v="1988" actId="1076"/>
          <ac:picMkLst>
            <pc:docMk/>
            <pc:sldMk cId="405055099" sldId="2147375573"/>
            <ac:picMk id="14" creationId="{DACB7F61-D563-4E83-A85B-3660A8EA3567}"/>
          </ac:picMkLst>
        </pc:picChg>
        <pc:picChg chg="add mod">
          <ac:chgData name="Kishor Kukreja" userId="4b679245-99ba-4686-ad2a-c800244b8fab" providerId="ADAL" clId="{C965E74B-565A-4447-B031-34794DCAFFCE}" dt="2021-12-13T17:44:13.354" v="1992" actId="1076"/>
          <ac:picMkLst>
            <pc:docMk/>
            <pc:sldMk cId="405055099" sldId="2147375573"/>
            <ac:picMk id="22" creationId="{81E71E51-B54D-4E5E-8EA0-3149320FE907}"/>
          </ac:picMkLst>
        </pc:picChg>
        <pc:picChg chg="del">
          <ac:chgData name="Kishor Kukreja" userId="4b679245-99ba-4686-ad2a-c800244b8fab" providerId="ADAL" clId="{C965E74B-565A-4447-B031-34794DCAFFCE}" dt="2021-12-13T17:41:55.087" v="1950" actId="478"/>
          <ac:picMkLst>
            <pc:docMk/>
            <pc:sldMk cId="405055099" sldId="2147375573"/>
            <ac:picMk id="24" creationId="{EEB8D1F7-4E06-46EC-B7C2-6BF765671A58}"/>
          </ac:picMkLst>
        </pc:picChg>
        <pc:picChg chg="mod">
          <ac:chgData name="Kishor Kukreja" userId="4b679245-99ba-4686-ad2a-c800244b8fab" providerId="ADAL" clId="{C965E74B-565A-4447-B031-34794DCAFFCE}" dt="2021-12-13T17:41:37.455" v="1947" actId="1076"/>
          <ac:picMkLst>
            <pc:docMk/>
            <pc:sldMk cId="405055099" sldId="2147375573"/>
            <ac:picMk id="27" creationId="{290B8C10-2DB2-459E-8BFF-F80EE66810F7}"/>
          </ac:picMkLst>
        </pc:picChg>
        <pc:picChg chg="del">
          <ac:chgData name="Kishor Kukreja" userId="4b679245-99ba-4686-ad2a-c800244b8fab" providerId="ADAL" clId="{C965E74B-565A-4447-B031-34794DCAFFCE}" dt="2021-12-13T17:41:50.445" v="1948" actId="478"/>
          <ac:picMkLst>
            <pc:docMk/>
            <pc:sldMk cId="405055099" sldId="2147375573"/>
            <ac:picMk id="33" creationId="{03C0620C-0F96-4559-A2CD-53B8722719C2}"/>
          </ac:picMkLst>
        </pc:picChg>
        <pc:picChg chg="del mod">
          <ac:chgData name="Kishor Kukreja" userId="4b679245-99ba-4686-ad2a-c800244b8fab" providerId="ADAL" clId="{C965E74B-565A-4447-B031-34794DCAFFCE}" dt="2021-12-13T17:41:30.469" v="1939" actId="478"/>
          <ac:picMkLst>
            <pc:docMk/>
            <pc:sldMk cId="405055099" sldId="2147375573"/>
            <ac:picMk id="34" creationId="{23EF3665-017A-4242-AE30-0383E5924437}"/>
          </ac:picMkLst>
        </pc:picChg>
        <pc:picChg chg="del">
          <ac:chgData name="Kishor Kukreja" userId="4b679245-99ba-4686-ad2a-c800244b8fab" providerId="ADAL" clId="{C965E74B-565A-4447-B031-34794DCAFFCE}" dt="2021-12-13T17:41:51.448" v="1949" actId="478"/>
          <ac:picMkLst>
            <pc:docMk/>
            <pc:sldMk cId="405055099" sldId="2147375573"/>
            <ac:picMk id="35" creationId="{38BFC149-CBCD-4FE1-AC01-C99713AB21C4}"/>
          </ac:picMkLst>
        </pc:picChg>
      </pc:sldChg>
      <pc:sldChg chg="addSp delSp modSp add mod ord">
        <pc:chgData name="Kishor Kukreja" userId="4b679245-99ba-4686-ad2a-c800244b8fab" providerId="ADAL" clId="{C965E74B-565A-4447-B031-34794DCAFFCE}" dt="2021-12-13T18:13:29.340" v="2911" actId="1076"/>
        <pc:sldMkLst>
          <pc:docMk/>
          <pc:sldMk cId="2622388822" sldId="2147375574"/>
        </pc:sldMkLst>
        <pc:spChg chg="mod">
          <ac:chgData name="Kishor Kukreja" userId="4b679245-99ba-4686-ad2a-c800244b8fab" providerId="ADAL" clId="{C965E74B-565A-4447-B031-34794DCAFFCE}" dt="2021-12-13T18:05:16.359" v="2539" actId="20577"/>
          <ac:spMkLst>
            <pc:docMk/>
            <pc:sldMk cId="2622388822" sldId="2147375574"/>
            <ac:spMk id="4" creationId="{A27CACEB-EFDC-4E71-B9FA-08C944B455EC}"/>
          </ac:spMkLst>
        </pc:spChg>
        <pc:spChg chg="mod">
          <ac:chgData name="Kishor Kukreja" userId="4b679245-99ba-4686-ad2a-c800244b8fab" providerId="ADAL" clId="{C965E74B-565A-4447-B031-34794DCAFFCE}" dt="2021-12-13T17:44:43.176" v="1996" actId="1076"/>
          <ac:spMkLst>
            <pc:docMk/>
            <pc:sldMk cId="2622388822" sldId="2147375574"/>
            <ac:spMk id="13" creationId="{B2DE0ABF-EFFE-4955-9F73-DEEC789C4CD5}"/>
          </ac:spMkLst>
        </pc:spChg>
        <pc:spChg chg="mod">
          <ac:chgData name="Kishor Kukreja" userId="4b679245-99ba-4686-ad2a-c800244b8fab" providerId="ADAL" clId="{C965E74B-565A-4447-B031-34794DCAFFCE}" dt="2021-12-13T17:44:43.176" v="1996" actId="1076"/>
          <ac:spMkLst>
            <pc:docMk/>
            <pc:sldMk cId="2622388822" sldId="2147375574"/>
            <ac:spMk id="15" creationId="{A3AAA11E-189C-4733-A16A-DB08CD52FCDF}"/>
          </ac:spMkLst>
        </pc:spChg>
        <pc:picChg chg="add del">
          <ac:chgData name="Kishor Kukreja" userId="4b679245-99ba-4686-ad2a-c800244b8fab" providerId="ADAL" clId="{C965E74B-565A-4447-B031-34794DCAFFCE}" dt="2021-12-13T17:53:22.528" v="2118" actId="21"/>
          <ac:picMkLst>
            <pc:docMk/>
            <pc:sldMk cId="2622388822" sldId="2147375574"/>
            <ac:picMk id="3" creationId="{D84CABF5-EC4A-4E52-B508-4B307D3F7F7D}"/>
          </ac:picMkLst>
        </pc:picChg>
        <pc:picChg chg="add mod">
          <ac:chgData name="Kishor Kukreja" userId="4b679245-99ba-4686-ad2a-c800244b8fab" providerId="ADAL" clId="{C965E74B-565A-4447-B031-34794DCAFFCE}" dt="2021-12-13T18:13:29.340" v="2911" actId="1076"/>
          <ac:picMkLst>
            <pc:docMk/>
            <pc:sldMk cId="2622388822" sldId="2147375574"/>
            <ac:picMk id="12" creationId="{868553C6-C15E-4042-BDA3-66BA6B977F70}"/>
          </ac:picMkLst>
        </pc:picChg>
      </pc:sldChg>
      <pc:sldChg chg="addSp delSp modSp add mod">
        <pc:chgData name="Kishor Kukreja" userId="4b679245-99ba-4686-ad2a-c800244b8fab" providerId="ADAL" clId="{C965E74B-565A-4447-B031-34794DCAFFCE}" dt="2021-12-13T21:18:43.769" v="8455" actId="20577"/>
        <pc:sldMkLst>
          <pc:docMk/>
          <pc:sldMk cId="740139428" sldId="2147375575"/>
        </pc:sldMkLst>
        <pc:spChg chg="mod">
          <ac:chgData name="Kishor Kukreja" userId="4b679245-99ba-4686-ad2a-c800244b8fab" providerId="ADAL" clId="{C965E74B-565A-4447-B031-34794DCAFFCE}" dt="2021-12-13T18:05:09.483" v="2535" actId="20577"/>
          <ac:spMkLst>
            <pc:docMk/>
            <pc:sldMk cId="740139428" sldId="2147375575"/>
            <ac:spMk id="4" creationId="{A27CACEB-EFDC-4E71-B9FA-08C944B455EC}"/>
          </ac:spMkLst>
        </pc:spChg>
        <pc:spChg chg="mod">
          <ac:chgData name="Kishor Kukreja" userId="4b679245-99ba-4686-ad2a-c800244b8fab" providerId="ADAL" clId="{C965E74B-565A-4447-B031-34794DCAFFCE}" dt="2021-12-13T17:45:29.354" v="2010" actId="20577"/>
          <ac:spMkLst>
            <pc:docMk/>
            <pc:sldMk cId="740139428" sldId="2147375575"/>
            <ac:spMk id="6" creationId="{E53F94A5-AE46-4D80-8B17-322199D46E08}"/>
          </ac:spMkLst>
        </pc:spChg>
        <pc:spChg chg="mod">
          <ac:chgData name="Kishor Kukreja" userId="4b679245-99ba-4686-ad2a-c800244b8fab" providerId="ADAL" clId="{C965E74B-565A-4447-B031-34794DCAFFCE}" dt="2021-12-13T21:18:43.769" v="8455" actId="20577"/>
          <ac:spMkLst>
            <pc:docMk/>
            <pc:sldMk cId="740139428" sldId="2147375575"/>
            <ac:spMk id="13" creationId="{B2DE0ABF-EFFE-4955-9F73-DEEC789C4CD5}"/>
          </ac:spMkLst>
        </pc:spChg>
        <pc:spChg chg="mod">
          <ac:chgData name="Kishor Kukreja" userId="4b679245-99ba-4686-ad2a-c800244b8fab" providerId="ADAL" clId="{C965E74B-565A-4447-B031-34794DCAFFCE}" dt="2021-12-13T17:46:16.572" v="2062" actId="20577"/>
          <ac:spMkLst>
            <pc:docMk/>
            <pc:sldMk cId="740139428" sldId="2147375575"/>
            <ac:spMk id="15" creationId="{A3AAA11E-189C-4733-A16A-DB08CD52FCDF}"/>
          </ac:spMkLst>
        </pc:spChg>
        <pc:spChg chg="del">
          <ac:chgData name="Kishor Kukreja" userId="4b679245-99ba-4686-ad2a-c800244b8fab" providerId="ADAL" clId="{C965E74B-565A-4447-B031-34794DCAFFCE}" dt="2021-12-13T17:52:15.272" v="2108" actId="478"/>
          <ac:spMkLst>
            <pc:docMk/>
            <pc:sldMk cId="740139428" sldId="2147375575"/>
            <ac:spMk id="18" creationId="{7593A50C-8E29-4A50-9F81-5232895D122F}"/>
          </ac:spMkLst>
        </pc:spChg>
        <pc:picChg chg="add mod">
          <ac:chgData name="Kishor Kukreja" userId="4b679245-99ba-4686-ad2a-c800244b8fab" providerId="ADAL" clId="{C965E74B-565A-4447-B031-34794DCAFFCE}" dt="2021-12-13T17:46:01.500" v="2018" actId="14100"/>
          <ac:picMkLst>
            <pc:docMk/>
            <pc:sldMk cId="740139428" sldId="2147375575"/>
            <ac:picMk id="3" creationId="{179C8CEC-8E13-41F5-8D35-22EFC675B079}"/>
          </ac:picMkLst>
        </pc:picChg>
        <pc:picChg chg="add mod">
          <ac:chgData name="Kishor Kukreja" userId="4b679245-99ba-4686-ad2a-c800244b8fab" providerId="ADAL" clId="{C965E74B-565A-4447-B031-34794DCAFFCE}" dt="2021-12-13T17:48:17.928" v="2068" actId="14100"/>
          <ac:picMkLst>
            <pc:docMk/>
            <pc:sldMk cId="740139428" sldId="2147375575"/>
            <ac:picMk id="7" creationId="{AAF5B570-659B-4F14-B018-3624F311E56E}"/>
          </ac:picMkLst>
        </pc:picChg>
        <pc:picChg chg="del">
          <ac:chgData name="Kishor Kukreja" userId="4b679245-99ba-4686-ad2a-c800244b8fab" providerId="ADAL" clId="{C965E74B-565A-4447-B031-34794DCAFFCE}" dt="2021-12-13T17:45:46.565" v="2011" actId="478"/>
          <ac:picMkLst>
            <pc:docMk/>
            <pc:sldMk cId="740139428" sldId="2147375575"/>
            <ac:picMk id="14" creationId="{DACB7F61-D563-4E83-A85B-3660A8EA3567}"/>
          </ac:picMkLst>
        </pc:picChg>
        <pc:picChg chg="add del mod">
          <ac:chgData name="Kishor Kukreja" userId="4b679245-99ba-4686-ad2a-c800244b8fab" providerId="ADAL" clId="{C965E74B-565A-4447-B031-34794DCAFFCE}" dt="2021-12-13T18:13:37.283" v="2915" actId="478"/>
          <ac:picMkLst>
            <pc:docMk/>
            <pc:sldMk cId="740139428" sldId="2147375575"/>
            <ac:picMk id="16" creationId="{F76C38FA-73D2-4EF6-B14C-DD8A10D207C2}"/>
          </ac:picMkLst>
        </pc:picChg>
        <pc:picChg chg="add del mod">
          <ac:chgData name="Kishor Kukreja" userId="4b679245-99ba-4686-ad2a-c800244b8fab" providerId="ADAL" clId="{C965E74B-565A-4447-B031-34794DCAFFCE}" dt="2021-12-13T18:13:44.476" v="2917" actId="478"/>
          <ac:picMkLst>
            <pc:docMk/>
            <pc:sldMk cId="740139428" sldId="2147375575"/>
            <ac:picMk id="17" creationId="{FB9049B3-D898-45EC-8199-A39F4E55CB20}"/>
          </ac:picMkLst>
        </pc:picChg>
        <pc:picChg chg="add mod">
          <ac:chgData name="Kishor Kukreja" userId="4b679245-99ba-4686-ad2a-c800244b8fab" providerId="ADAL" clId="{C965E74B-565A-4447-B031-34794DCAFFCE}" dt="2021-12-13T18:13:42.470" v="2916"/>
          <ac:picMkLst>
            <pc:docMk/>
            <pc:sldMk cId="740139428" sldId="2147375575"/>
            <ac:picMk id="19" creationId="{4D5F5AA9-1AAF-434B-965D-6EADA80EADAE}"/>
          </ac:picMkLst>
        </pc:picChg>
        <pc:picChg chg="del">
          <ac:chgData name="Kishor Kukreja" userId="4b679245-99ba-4686-ad2a-c800244b8fab" providerId="ADAL" clId="{C965E74B-565A-4447-B031-34794DCAFFCE}" dt="2021-12-13T17:48:03.893" v="2063" actId="478"/>
          <ac:picMkLst>
            <pc:docMk/>
            <pc:sldMk cId="740139428" sldId="2147375575"/>
            <ac:picMk id="22" creationId="{81E71E51-B54D-4E5E-8EA0-3149320FE907}"/>
          </ac:picMkLst>
        </pc:picChg>
      </pc:sldChg>
      <pc:sldChg chg="addSp delSp modSp add mod ord">
        <pc:chgData name="Kishor Kukreja" userId="4b679245-99ba-4686-ad2a-c800244b8fab" providerId="ADAL" clId="{C965E74B-565A-4447-B031-34794DCAFFCE}" dt="2021-12-13T21:19:26.190" v="8456" actId="20577"/>
        <pc:sldMkLst>
          <pc:docMk/>
          <pc:sldMk cId="3998048508" sldId="2147375576"/>
        </pc:sldMkLst>
        <pc:spChg chg="mod">
          <ac:chgData name="Kishor Kukreja" userId="4b679245-99ba-4686-ad2a-c800244b8fab" providerId="ADAL" clId="{C965E74B-565A-4447-B031-34794DCAFFCE}" dt="2021-12-13T18:06:02.329" v="2548" actId="20577"/>
          <ac:spMkLst>
            <pc:docMk/>
            <pc:sldMk cId="3998048508" sldId="2147375576"/>
            <ac:spMk id="4" creationId="{A27CACEB-EFDC-4E71-B9FA-08C944B455EC}"/>
          </ac:spMkLst>
        </pc:spChg>
        <pc:spChg chg="mod">
          <ac:chgData name="Kishor Kukreja" userId="4b679245-99ba-4686-ad2a-c800244b8fab" providerId="ADAL" clId="{C965E74B-565A-4447-B031-34794DCAFFCE}" dt="2021-12-13T17:59:10.358" v="2300" actId="20577"/>
          <ac:spMkLst>
            <pc:docMk/>
            <pc:sldMk cId="3998048508" sldId="2147375576"/>
            <ac:spMk id="6" creationId="{E53F94A5-AE46-4D80-8B17-322199D46E08}"/>
          </ac:spMkLst>
        </pc:spChg>
        <pc:spChg chg="mod">
          <ac:chgData name="Kishor Kukreja" userId="4b679245-99ba-4686-ad2a-c800244b8fab" providerId="ADAL" clId="{C965E74B-565A-4447-B031-34794DCAFFCE}" dt="2021-12-13T18:04:09.103" v="2470" actId="20577"/>
          <ac:spMkLst>
            <pc:docMk/>
            <pc:sldMk cId="3998048508" sldId="2147375576"/>
            <ac:spMk id="13" creationId="{B2DE0ABF-EFFE-4955-9F73-DEEC789C4CD5}"/>
          </ac:spMkLst>
        </pc:spChg>
        <pc:spChg chg="mod">
          <ac:chgData name="Kishor Kukreja" userId="4b679245-99ba-4686-ad2a-c800244b8fab" providerId="ADAL" clId="{C965E74B-565A-4447-B031-34794DCAFFCE}" dt="2021-12-13T21:19:26.190" v="8456" actId="20577"/>
          <ac:spMkLst>
            <pc:docMk/>
            <pc:sldMk cId="3998048508" sldId="2147375576"/>
            <ac:spMk id="15" creationId="{A3AAA11E-189C-4733-A16A-DB08CD52FCDF}"/>
          </ac:spMkLst>
        </pc:spChg>
        <pc:spChg chg="add del mod">
          <ac:chgData name="Kishor Kukreja" userId="4b679245-99ba-4686-ad2a-c800244b8fab" providerId="ADAL" clId="{C965E74B-565A-4447-B031-34794DCAFFCE}" dt="2021-12-13T18:03:42.826" v="2443" actId="478"/>
          <ac:spMkLst>
            <pc:docMk/>
            <pc:sldMk cId="3998048508" sldId="2147375576"/>
            <ac:spMk id="17" creationId="{2A75BFD1-3ABF-416B-81E2-F999D4D8341C}"/>
          </ac:spMkLst>
        </pc:spChg>
        <pc:spChg chg="add mod">
          <ac:chgData name="Kishor Kukreja" userId="4b679245-99ba-4686-ad2a-c800244b8fab" providerId="ADAL" clId="{C965E74B-565A-4447-B031-34794DCAFFCE}" dt="2021-12-13T18:03:36.762" v="2442" actId="206"/>
          <ac:spMkLst>
            <pc:docMk/>
            <pc:sldMk cId="3998048508" sldId="2147375576"/>
            <ac:spMk id="18" creationId="{6896A020-1DB3-4625-A055-0019EF707D28}"/>
          </ac:spMkLst>
        </pc:spChg>
        <pc:spChg chg="add mod">
          <ac:chgData name="Kishor Kukreja" userId="4b679245-99ba-4686-ad2a-c800244b8fab" providerId="ADAL" clId="{C965E74B-565A-4447-B031-34794DCAFFCE}" dt="2021-12-13T18:00:25.222" v="2318" actId="14100"/>
          <ac:spMkLst>
            <pc:docMk/>
            <pc:sldMk cId="3998048508" sldId="2147375576"/>
            <ac:spMk id="19" creationId="{89F1B9B1-43C7-4535-BF7A-1DF8DE327EA6}"/>
          </ac:spMkLst>
        </pc:spChg>
        <pc:spChg chg="add del mod">
          <ac:chgData name="Kishor Kukreja" userId="4b679245-99ba-4686-ad2a-c800244b8fab" providerId="ADAL" clId="{C965E74B-565A-4447-B031-34794DCAFFCE}" dt="2021-12-13T18:01:32.372" v="2368" actId="478"/>
          <ac:spMkLst>
            <pc:docMk/>
            <pc:sldMk cId="3998048508" sldId="2147375576"/>
            <ac:spMk id="20" creationId="{C757CC63-335D-49F4-AFB3-1263B2C0ACB9}"/>
          </ac:spMkLst>
        </pc:spChg>
        <pc:spChg chg="add mod">
          <ac:chgData name="Kishor Kukreja" userId="4b679245-99ba-4686-ad2a-c800244b8fab" providerId="ADAL" clId="{C965E74B-565A-4447-B031-34794DCAFFCE}" dt="2021-12-13T18:00:47.648" v="2328" actId="1076"/>
          <ac:spMkLst>
            <pc:docMk/>
            <pc:sldMk cId="3998048508" sldId="2147375576"/>
            <ac:spMk id="23" creationId="{7883ADC6-D10D-4A57-B837-7F08232F2905}"/>
          </ac:spMkLst>
        </pc:spChg>
        <pc:spChg chg="add mod">
          <ac:chgData name="Kishor Kukreja" userId="4b679245-99ba-4686-ad2a-c800244b8fab" providerId="ADAL" clId="{C965E74B-565A-4447-B031-34794DCAFFCE}" dt="2021-12-13T18:00:59.379" v="2334" actId="1076"/>
          <ac:spMkLst>
            <pc:docMk/>
            <pc:sldMk cId="3998048508" sldId="2147375576"/>
            <ac:spMk id="25" creationId="{206CDBEC-7920-4085-B915-A1E29816B05B}"/>
          </ac:spMkLst>
        </pc:spChg>
        <pc:picChg chg="del">
          <ac:chgData name="Kishor Kukreja" userId="4b679245-99ba-4686-ad2a-c800244b8fab" providerId="ADAL" clId="{C965E74B-565A-4447-B031-34794DCAFFCE}" dt="2021-12-13T17:55:00.391" v="2143" actId="478"/>
          <ac:picMkLst>
            <pc:docMk/>
            <pc:sldMk cId="3998048508" sldId="2147375576"/>
            <ac:picMk id="3" creationId="{179C8CEC-8E13-41F5-8D35-22EFC675B079}"/>
          </ac:picMkLst>
        </pc:picChg>
        <pc:picChg chg="add del">
          <ac:chgData name="Kishor Kukreja" userId="4b679245-99ba-4686-ad2a-c800244b8fab" providerId="ADAL" clId="{C965E74B-565A-4447-B031-34794DCAFFCE}" dt="2021-12-13T17:54:13.767" v="2137" actId="22"/>
          <ac:picMkLst>
            <pc:docMk/>
            <pc:sldMk cId="3998048508" sldId="2147375576"/>
            <ac:picMk id="5" creationId="{9F58C31A-1102-4442-8115-ADD1D5A282A6}"/>
          </ac:picMkLst>
        </pc:picChg>
        <pc:picChg chg="del">
          <ac:chgData name="Kishor Kukreja" userId="4b679245-99ba-4686-ad2a-c800244b8fab" providerId="ADAL" clId="{C965E74B-565A-4447-B031-34794DCAFFCE}" dt="2021-12-13T17:55:11.036" v="2147" actId="478"/>
          <ac:picMkLst>
            <pc:docMk/>
            <pc:sldMk cId="3998048508" sldId="2147375576"/>
            <ac:picMk id="7" creationId="{AAF5B570-659B-4F14-B018-3624F311E56E}"/>
          </ac:picMkLst>
        </pc:picChg>
        <pc:picChg chg="add del mod">
          <ac:chgData name="Kishor Kukreja" userId="4b679245-99ba-4686-ad2a-c800244b8fab" providerId="ADAL" clId="{C965E74B-565A-4447-B031-34794DCAFFCE}" dt="2021-12-13T17:59:36.570" v="2301" actId="478"/>
          <ac:picMkLst>
            <pc:docMk/>
            <pc:sldMk cId="3998048508" sldId="2147375576"/>
            <ac:picMk id="9" creationId="{4CDFC4E2-0335-4EE3-8389-76A112777AA2}"/>
          </ac:picMkLst>
        </pc:picChg>
        <pc:picChg chg="add del mod">
          <ac:chgData name="Kishor Kukreja" userId="4b679245-99ba-4686-ad2a-c800244b8fab" providerId="ADAL" clId="{C965E74B-565A-4447-B031-34794DCAFFCE}" dt="2021-12-13T18:10:17.802" v="2849" actId="478"/>
          <ac:picMkLst>
            <pc:docMk/>
            <pc:sldMk cId="3998048508" sldId="2147375576"/>
            <ac:picMk id="10" creationId="{223179A7-BE41-4CBD-9780-25B4B2F6F079}"/>
          </ac:picMkLst>
        </pc:picChg>
        <pc:picChg chg="add del mod">
          <ac:chgData name="Kishor Kukreja" userId="4b679245-99ba-4686-ad2a-c800244b8fab" providerId="ADAL" clId="{C965E74B-565A-4447-B031-34794DCAFFCE}" dt="2021-12-13T18:01:35.815" v="2370" actId="478"/>
          <ac:picMkLst>
            <pc:docMk/>
            <pc:sldMk cId="3998048508" sldId="2147375576"/>
            <ac:picMk id="12" creationId="{BD9ACDF7-C14E-4275-962B-4FFAAC0A713F}"/>
          </ac:picMkLst>
        </pc:picChg>
        <pc:picChg chg="del">
          <ac:chgData name="Kishor Kukreja" userId="4b679245-99ba-4686-ad2a-c800244b8fab" providerId="ADAL" clId="{C965E74B-565A-4447-B031-34794DCAFFCE}" dt="2021-12-13T17:53:49.598" v="2126" actId="478"/>
          <ac:picMkLst>
            <pc:docMk/>
            <pc:sldMk cId="3998048508" sldId="2147375576"/>
            <ac:picMk id="16" creationId="{F76C38FA-73D2-4EF6-B14C-DD8A10D207C2}"/>
          </ac:picMkLst>
        </pc:picChg>
        <pc:picChg chg="add mod ord">
          <ac:chgData name="Kishor Kukreja" userId="4b679245-99ba-4686-ad2a-c800244b8fab" providerId="ADAL" clId="{C965E74B-565A-4447-B031-34794DCAFFCE}" dt="2021-12-13T18:00:42.062" v="2325" actId="1076"/>
          <ac:picMkLst>
            <pc:docMk/>
            <pc:sldMk cId="3998048508" sldId="2147375576"/>
            <ac:picMk id="21" creationId="{DEC946E1-6136-44B4-93CA-8E47D3ADF35B}"/>
          </ac:picMkLst>
        </pc:picChg>
        <pc:picChg chg="add mod">
          <ac:chgData name="Kishor Kukreja" userId="4b679245-99ba-4686-ad2a-c800244b8fab" providerId="ADAL" clId="{C965E74B-565A-4447-B031-34794DCAFFCE}" dt="2021-12-13T18:00:44.302" v="2327" actId="571"/>
          <ac:picMkLst>
            <pc:docMk/>
            <pc:sldMk cId="3998048508" sldId="2147375576"/>
            <ac:picMk id="24" creationId="{D75AFC78-99A9-43E4-8066-46904958AB1C}"/>
          </ac:picMkLst>
        </pc:picChg>
        <pc:picChg chg="add mod">
          <ac:chgData name="Kishor Kukreja" userId="4b679245-99ba-4686-ad2a-c800244b8fab" providerId="ADAL" clId="{C965E74B-565A-4447-B031-34794DCAFFCE}" dt="2021-12-13T18:00:50.781" v="2331" actId="571"/>
          <ac:picMkLst>
            <pc:docMk/>
            <pc:sldMk cId="3998048508" sldId="2147375576"/>
            <ac:picMk id="26" creationId="{DB1E3EBE-8CDB-4CF1-ACC9-0EB9774853FD}"/>
          </ac:picMkLst>
        </pc:picChg>
        <pc:picChg chg="add mod ord">
          <ac:chgData name="Kishor Kukreja" userId="4b679245-99ba-4686-ad2a-c800244b8fab" providerId="ADAL" clId="{C965E74B-565A-4447-B031-34794DCAFFCE}" dt="2021-12-13T18:03:11.149" v="2434" actId="167"/>
          <ac:picMkLst>
            <pc:docMk/>
            <pc:sldMk cId="3998048508" sldId="2147375576"/>
            <ac:picMk id="28" creationId="{CBB9AE8F-A58A-45AF-ADE3-F247CF62209E}"/>
          </ac:picMkLst>
        </pc:picChg>
        <pc:picChg chg="add mod">
          <ac:chgData name="Kishor Kukreja" userId="4b679245-99ba-4686-ad2a-c800244b8fab" providerId="ADAL" clId="{C965E74B-565A-4447-B031-34794DCAFFCE}" dt="2021-12-13T18:10:22.105" v="2852" actId="14100"/>
          <ac:picMkLst>
            <pc:docMk/>
            <pc:sldMk cId="3998048508" sldId="2147375576"/>
            <ac:picMk id="29" creationId="{8E526ADC-DF87-4AFD-9A40-D327ED179BE6}"/>
          </ac:picMkLst>
        </pc:picChg>
        <pc:picChg chg="add mod">
          <ac:chgData name="Kishor Kukreja" userId="4b679245-99ba-4686-ad2a-c800244b8fab" providerId="ADAL" clId="{C965E74B-565A-4447-B031-34794DCAFFCE}" dt="2021-12-13T18:13:47.836" v="2919"/>
          <ac:picMkLst>
            <pc:docMk/>
            <pc:sldMk cId="3998048508" sldId="2147375576"/>
            <ac:picMk id="30" creationId="{15416AA8-D005-48D0-BBC2-9086075CD817}"/>
          </ac:picMkLst>
        </pc:picChg>
      </pc:sldChg>
      <pc:sldChg chg="add del">
        <pc:chgData name="Kishor Kukreja" userId="4b679245-99ba-4686-ad2a-c800244b8fab" providerId="ADAL" clId="{C965E74B-565A-4447-B031-34794DCAFFCE}" dt="2021-12-13T17:58:39.487" v="2285" actId="47"/>
        <pc:sldMkLst>
          <pc:docMk/>
          <pc:sldMk cId="1558780465" sldId="2147375577"/>
        </pc:sldMkLst>
      </pc:sldChg>
      <pc:sldChg chg="addSp modSp add mod">
        <pc:chgData name="Kishor Kukreja" userId="4b679245-99ba-4686-ad2a-c800244b8fab" providerId="ADAL" clId="{C965E74B-565A-4447-B031-34794DCAFFCE}" dt="2021-12-13T18:13:45.943" v="2918"/>
        <pc:sldMkLst>
          <pc:docMk/>
          <pc:sldMk cId="223863008" sldId="2147375578"/>
        </pc:sldMkLst>
        <pc:spChg chg="mod">
          <ac:chgData name="Kishor Kukreja" userId="4b679245-99ba-4686-ad2a-c800244b8fab" providerId="ADAL" clId="{C965E74B-565A-4447-B031-34794DCAFFCE}" dt="2021-12-13T18:05:21.101" v="2541" actId="20577"/>
          <ac:spMkLst>
            <pc:docMk/>
            <pc:sldMk cId="223863008" sldId="2147375578"/>
            <ac:spMk id="4" creationId="{A27CACEB-EFDC-4E71-B9FA-08C944B455EC}"/>
          </ac:spMkLst>
        </pc:spChg>
        <pc:picChg chg="add mod">
          <ac:chgData name="Kishor Kukreja" userId="4b679245-99ba-4686-ad2a-c800244b8fab" providerId="ADAL" clId="{C965E74B-565A-4447-B031-34794DCAFFCE}" dt="2021-12-13T18:13:45.943" v="2918"/>
          <ac:picMkLst>
            <pc:docMk/>
            <pc:sldMk cId="223863008" sldId="2147375578"/>
            <ac:picMk id="14" creationId="{72DE779E-DDCA-4B11-9EC0-8AF503175E83}"/>
          </ac:picMkLst>
        </pc:picChg>
      </pc:sldChg>
      <pc:sldChg chg="addSp delSp modSp add mod">
        <pc:chgData name="Kishor Kukreja" userId="4b679245-99ba-4686-ad2a-c800244b8fab" providerId="ADAL" clId="{C965E74B-565A-4447-B031-34794DCAFFCE}" dt="2021-12-13T20:42:55.065" v="7656" actId="14100"/>
        <pc:sldMkLst>
          <pc:docMk/>
          <pc:sldMk cId="1937269809" sldId="2147375579"/>
        </pc:sldMkLst>
        <pc:spChg chg="mod">
          <ac:chgData name="Kishor Kukreja" userId="4b679245-99ba-4686-ad2a-c800244b8fab" providerId="ADAL" clId="{C965E74B-565A-4447-B031-34794DCAFFCE}" dt="2021-12-13T18:05:30.018" v="2545" actId="20577"/>
          <ac:spMkLst>
            <pc:docMk/>
            <pc:sldMk cId="1937269809" sldId="2147375579"/>
            <ac:spMk id="4" creationId="{A27CACEB-EFDC-4E71-B9FA-08C944B455EC}"/>
          </ac:spMkLst>
        </pc:spChg>
        <pc:spChg chg="mod">
          <ac:chgData name="Kishor Kukreja" userId="4b679245-99ba-4686-ad2a-c800244b8fab" providerId="ADAL" clId="{C965E74B-565A-4447-B031-34794DCAFFCE}" dt="2021-12-13T18:17:29.235" v="2954" actId="20577"/>
          <ac:spMkLst>
            <pc:docMk/>
            <pc:sldMk cId="1937269809" sldId="2147375579"/>
            <ac:spMk id="6" creationId="{E53F94A5-AE46-4D80-8B17-322199D46E08}"/>
          </ac:spMkLst>
        </pc:spChg>
        <pc:spChg chg="mod">
          <ac:chgData name="Kishor Kukreja" userId="4b679245-99ba-4686-ad2a-c800244b8fab" providerId="ADAL" clId="{C965E74B-565A-4447-B031-34794DCAFFCE}" dt="2021-12-13T20:42:52.489" v="7655" actId="14100"/>
          <ac:spMkLst>
            <pc:docMk/>
            <pc:sldMk cId="1937269809" sldId="2147375579"/>
            <ac:spMk id="13" creationId="{B2DE0ABF-EFFE-4955-9F73-DEEC789C4CD5}"/>
          </ac:spMkLst>
        </pc:spChg>
        <pc:spChg chg="mod">
          <ac:chgData name="Kishor Kukreja" userId="4b679245-99ba-4686-ad2a-c800244b8fab" providerId="ADAL" clId="{C965E74B-565A-4447-B031-34794DCAFFCE}" dt="2021-12-13T20:42:55.065" v="7656" actId="14100"/>
          <ac:spMkLst>
            <pc:docMk/>
            <pc:sldMk cId="1937269809" sldId="2147375579"/>
            <ac:spMk id="15" creationId="{A3AAA11E-189C-4733-A16A-DB08CD52FCDF}"/>
          </ac:spMkLst>
        </pc:spChg>
        <pc:spChg chg="del">
          <ac:chgData name="Kishor Kukreja" userId="4b679245-99ba-4686-ad2a-c800244b8fab" providerId="ADAL" clId="{C965E74B-565A-4447-B031-34794DCAFFCE}" dt="2021-12-13T18:07:03.591" v="2564" actId="478"/>
          <ac:spMkLst>
            <pc:docMk/>
            <pc:sldMk cId="1937269809" sldId="2147375579"/>
            <ac:spMk id="18" creationId="{6896A020-1DB3-4625-A055-0019EF707D28}"/>
          </ac:spMkLst>
        </pc:spChg>
        <pc:spChg chg="mod">
          <ac:chgData name="Kishor Kukreja" userId="4b679245-99ba-4686-ad2a-c800244b8fab" providerId="ADAL" clId="{C965E74B-565A-4447-B031-34794DCAFFCE}" dt="2021-12-13T18:08:27.897" v="2587" actId="14100"/>
          <ac:spMkLst>
            <pc:docMk/>
            <pc:sldMk cId="1937269809" sldId="2147375579"/>
            <ac:spMk id="19" creationId="{89F1B9B1-43C7-4535-BF7A-1DF8DE327EA6}"/>
          </ac:spMkLst>
        </pc:spChg>
        <pc:spChg chg="add mod">
          <ac:chgData name="Kishor Kukreja" userId="4b679245-99ba-4686-ad2a-c800244b8fab" providerId="ADAL" clId="{C965E74B-565A-4447-B031-34794DCAFFCE}" dt="2021-12-13T18:08:06.550" v="2580" actId="1076"/>
          <ac:spMkLst>
            <pc:docMk/>
            <pc:sldMk cId="1937269809" sldId="2147375579"/>
            <ac:spMk id="20" creationId="{284D1848-FDDF-425F-B69D-04C26D3559F4}"/>
          </ac:spMkLst>
        </pc:spChg>
        <pc:spChg chg="mod">
          <ac:chgData name="Kishor Kukreja" userId="4b679245-99ba-4686-ad2a-c800244b8fab" providerId="ADAL" clId="{C965E74B-565A-4447-B031-34794DCAFFCE}" dt="2021-12-13T18:08:33.617" v="2589" actId="1076"/>
          <ac:spMkLst>
            <pc:docMk/>
            <pc:sldMk cId="1937269809" sldId="2147375579"/>
            <ac:spMk id="23" creationId="{7883ADC6-D10D-4A57-B837-7F08232F2905}"/>
          </ac:spMkLst>
        </pc:spChg>
        <pc:spChg chg="add mod">
          <ac:chgData name="Kishor Kukreja" userId="4b679245-99ba-4686-ad2a-c800244b8fab" providerId="ADAL" clId="{C965E74B-565A-4447-B031-34794DCAFFCE}" dt="2021-12-13T18:08:10.443" v="2582" actId="1076"/>
          <ac:spMkLst>
            <pc:docMk/>
            <pc:sldMk cId="1937269809" sldId="2147375579"/>
            <ac:spMk id="24" creationId="{E459633D-8B17-416F-AE71-4DC5499387CF}"/>
          </ac:spMkLst>
        </pc:spChg>
        <pc:spChg chg="del">
          <ac:chgData name="Kishor Kukreja" userId="4b679245-99ba-4686-ad2a-c800244b8fab" providerId="ADAL" clId="{C965E74B-565A-4447-B031-34794DCAFFCE}" dt="2021-12-13T18:06:40.244" v="2557" actId="478"/>
          <ac:spMkLst>
            <pc:docMk/>
            <pc:sldMk cId="1937269809" sldId="2147375579"/>
            <ac:spMk id="25" creationId="{206CDBEC-7920-4085-B915-A1E29816B05B}"/>
          </ac:spMkLst>
        </pc:spChg>
        <pc:spChg chg="add mod">
          <ac:chgData name="Kishor Kukreja" userId="4b679245-99ba-4686-ad2a-c800244b8fab" providerId="ADAL" clId="{C965E74B-565A-4447-B031-34794DCAFFCE}" dt="2021-12-13T18:08:16.748" v="2584" actId="1076"/>
          <ac:spMkLst>
            <pc:docMk/>
            <pc:sldMk cId="1937269809" sldId="2147375579"/>
            <ac:spMk id="26" creationId="{1C0354EC-D81B-47F2-A706-D3FDD57879A9}"/>
          </ac:spMkLst>
        </pc:spChg>
        <pc:spChg chg="add mod">
          <ac:chgData name="Kishor Kukreja" userId="4b679245-99ba-4686-ad2a-c800244b8fab" providerId="ADAL" clId="{C965E74B-565A-4447-B031-34794DCAFFCE}" dt="2021-12-13T18:08:23.417" v="2586" actId="1076"/>
          <ac:spMkLst>
            <pc:docMk/>
            <pc:sldMk cId="1937269809" sldId="2147375579"/>
            <ac:spMk id="29" creationId="{ACBD28C5-DD26-4073-B0B7-89726CF27A35}"/>
          </ac:spMkLst>
        </pc:spChg>
        <pc:picChg chg="add mod ord">
          <ac:chgData name="Kishor Kukreja" userId="4b679245-99ba-4686-ad2a-c800244b8fab" providerId="ADAL" clId="{C965E74B-565A-4447-B031-34794DCAFFCE}" dt="2021-12-13T18:07:43.537" v="2569" actId="14100"/>
          <ac:picMkLst>
            <pc:docMk/>
            <pc:sldMk cId="1937269809" sldId="2147375579"/>
            <ac:picMk id="3" creationId="{9539738E-DDC4-4968-A322-160004680CAA}"/>
          </ac:picMkLst>
        </pc:picChg>
        <pc:picChg chg="add mod">
          <ac:chgData name="Kishor Kukreja" userId="4b679245-99ba-4686-ad2a-c800244b8fab" providerId="ADAL" clId="{C965E74B-565A-4447-B031-34794DCAFFCE}" dt="2021-12-13T18:07:53.702" v="2574" actId="1076"/>
          <ac:picMkLst>
            <pc:docMk/>
            <pc:sldMk cId="1937269809" sldId="2147375579"/>
            <ac:picMk id="7" creationId="{ADA2211E-734D-4468-B4DA-7E376893308F}"/>
          </ac:picMkLst>
        </pc:picChg>
        <pc:picChg chg="add mod">
          <ac:chgData name="Kishor Kukreja" userId="4b679245-99ba-4686-ad2a-c800244b8fab" providerId="ADAL" clId="{C965E74B-565A-4447-B031-34794DCAFFCE}" dt="2021-12-13T18:14:38.657" v="2925" actId="1076"/>
          <ac:picMkLst>
            <pc:docMk/>
            <pc:sldMk cId="1937269809" sldId="2147375579"/>
            <ac:picMk id="9" creationId="{94426087-343E-4ECA-9549-F2088DE7CB2F}"/>
          </ac:picMkLst>
        </pc:picChg>
        <pc:picChg chg="del">
          <ac:chgData name="Kishor Kukreja" userId="4b679245-99ba-4686-ad2a-c800244b8fab" providerId="ADAL" clId="{C965E74B-565A-4447-B031-34794DCAFFCE}" dt="2021-12-13T18:14:30.864" v="2922" actId="478"/>
          <ac:picMkLst>
            <pc:docMk/>
            <pc:sldMk cId="1937269809" sldId="2147375579"/>
            <ac:picMk id="10" creationId="{223179A7-BE41-4CBD-9780-25B4B2F6F079}"/>
          </ac:picMkLst>
        </pc:picChg>
        <pc:picChg chg="del">
          <ac:chgData name="Kishor Kukreja" userId="4b679245-99ba-4686-ad2a-c800244b8fab" providerId="ADAL" clId="{C965E74B-565A-4447-B031-34794DCAFFCE}" dt="2021-12-13T18:06:07.992" v="2549" actId="478"/>
          <ac:picMkLst>
            <pc:docMk/>
            <pc:sldMk cId="1937269809" sldId="2147375579"/>
            <ac:picMk id="21" creationId="{DEC946E1-6136-44B4-93CA-8E47D3ADF35B}"/>
          </ac:picMkLst>
        </pc:picChg>
        <pc:picChg chg="add mod">
          <ac:chgData name="Kishor Kukreja" userId="4b679245-99ba-4686-ad2a-c800244b8fab" providerId="ADAL" clId="{C965E74B-565A-4447-B031-34794DCAFFCE}" dt="2021-12-13T18:08:03.466" v="2579" actId="571"/>
          <ac:picMkLst>
            <pc:docMk/>
            <pc:sldMk cId="1937269809" sldId="2147375579"/>
            <ac:picMk id="22" creationId="{4D4F9B04-4FC5-4B48-B162-311B31500339}"/>
          </ac:picMkLst>
        </pc:picChg>
        <pc:picChg chg="del">
          <ac:chgData name="Kishor Kukreja" userId="4b679245-99ba-4686-ad2a-c800244b8fab" providerId="ADAL" clId="{C965E74B-565A-4447-B031-34794DCAFFCE}" dt="2021-12-13T18:07:01.644" v="2563" actId="478"/>
          <ac:picMkLst>
            <pc:docMk/>
            <pc:sldMk cId="1937269809" sldId="2147375579"/>
            <ac:picMk id="28" creationId="{CBB9AE8F-A58A-45AF-ADE3-F247CF62209E}"/>
          </ac:picMkLst>
        </pc:picChg>
        <pc:picChg chg="add mod">
          <ac:chgData name="Kishor Kukreja" userId="4b679245-99ba-4686-ad2a-c800244b8fab" providerId="ADAL" clId="{C965E74B-565A-4447-B031-34794DCAFFCE}" dt="2021-12-13T18:13:52.950" v="2920"/>
          <ac:picMkLst>
            <pc:docMk/>
            <pc:sldMk cId="1937269809" sldId="2147375579"/>
            <ac:picMk id="30" creationId="{526E3FBD-5157-4FAC-B364-26A201C31AAF}"/>
          </ac:picMkLst>
        </pc:picChg>
      </pc:sldChg>
      <pc:sldChg chg="addSp delSp modSp add mod ord modClrScheme chgLayout">
        <pc:chgData name="Kishor Kukreja" userId="4b679245-99ba-4686-ad2a-c800244b8fab" providerId="ADAL" clId="{C965E74B-565A-4447-B031-34794DCAFFCE}" dt="2021-12-13T21:16:48.476" v="8427"/>
        <pc:sldMkLst>
          <pc:docMk/>
          <pc:sldMk cId="1332970255" sldId="2147375580"/>
        </pc:sldMkLst>
        <pc:spChg chg="mod ord">
          <ac:chgData name="Kishor Kukreja" userId="4b679245-99ba-4686-ad2a-c800244b8fab" providerId="ADAL" clId="{C965E74B-565A-4447-B031-34794DCAFFCE}" dt="2021-12-13T20:40:49.724" v="7598" actId="20577"/>
          <ac:spMkLst>
            <pc:docMk/>
            <pc:sldMk cId="1332970255" sldId="2147375580"/>
            <ac:spMk id="4" creationId="{A27CACEB-EFDC-4E71-B9FA-08C944B455EC}"/>
          </ac:spMkLst>
        </pc:spChg>
        <pc:spChg chg="add del mod ord">
          <ac:chgData name="Kishor Kukreja" userId="4b679245-99ba-4686-ad2a-c800244b8fab" providerId="ADAL" clId="{C965E74B-565A-4447-B031-34794DCAFFCE}" dt="2021-12-13T18:20:31.533" v="3000" actId="700"/>
          <ac:spMkLst>
            <pc:docMk/>
            <pc:sldMk cId="1332970255" sldId="2147375580"/>
            <ac:spMk id="5" creationId="{6A438525-FDF5-4E79-840F-84463B72DAB1}"/>
          </ac:spMkLst>
        </pc:spChg>
        <pc:spChg chg="del">
          <ac:chgData name="Kishor Kukreja" userId="4b679245-99ba-4686-ad2a-c800244b8fab" providerId="ADAL" clId="{C965E74B-565A-4447-B031-34794DCAFFCE}" dt="2021-12-13T18:20:22.127" v="2999" actId="478"/>
          <ac:spMkLst>
            <pc:docMk/>
            <pc:sldMk cId="1332970255" sldId="2147375580"/>
            <ac:spMk id="6" creationId="{E53F94A5-AE46-4D80-8B17-322199D46E08}"/>
          </ac:spMkLst>
        </pc:spChg>
        <pc:spChg chg="add del mod ord">
          <ac:chgData name="Kishor Kukreja" userId="4b679245-99ba-4686-ad2a-c800244b8fab" providerId="ADAL" clId="{C965E74B-565A-4447-B031-34794DCAFFCE}" dt="2021-12-13T18:20:36.755" v="3002" actId="700"/>
          <ac:spMkLst>
            <pc:docMk/>
            <pc:sldMk cId="1332970255" sldId="2147375580"/>
            <ac:spMk id="8" creationId="{5BB5B17E-5BBD-4EB1-8909-CD792825D4EB}"/>
          </ac:spMkLst>
        </pc:spChg>
        <pc:spChg chg="del">
          <ac:chgData name="Kishor Kukreja" userId="4b679245-99ba-4686-ad2a-c800244b8fab" providerId="ADAL" clId="{C965E74B-565A-4447-B031-34794DCAFFCE}" dt="2021-12-13T18:20:19.585" v="2998" actId="478"/>
          <ac:spMkLst>
            <pc:docMk/>
            <pc:sldMk cId="1332970255" sldId="2147375580"/>
            <ac:spMk id="13" creationId="{B2DE0ABF-EFFE-4955-9F73-DEEC789C4CD5}"/>
          </ac:spMkLst>
        </pc:spChg>
        <pc:spChg chg="del">
          <ac:chgData name="Kishor Kukreja" userId="4b679245-99ba-4686-ad2a-c800244b8fab" providerId="ADAL" clId="{C965E74B-565A-4447-B031-34794DCAFFCE}" dt="2021-12-13T18:20:19.585" v="2998" actId="478"/>
          <ac:spMkLst>
            <pc:docMk/>
            <pc:sldMk cId="1332970255" sldId="2147375580"/>
            <ac:spMk id="15" creationId="{A3AAA11E-189C-4733-A16A-DB08CD52FCDF}"/>
          </ac:spMkLst>
        </pc:spChg>
        <pc:spChg chg="del">
          <ac:chgData name="Kishor Kukreja" userId="4b679245-99ba-4686-ad2a-c800244b8fab" providerId="ADAL" clId="{C965E74B-565A-4447-B031-34794DCAFFCE}" dt="2021-12-13T18:20:19.585" v="2998" actId="478"/>
          <ac:spMkLst>
            <pc:docMk/>
            <pc:sldMk cId="1332970255" sldId="2147375580"/>
            <ac:spMk id="19" creationId="{89F1B9B1-43C7-4535-BF7A-1DF8DE327EA6}"/>
          </ac:spMkLst>
        </pc:spChg>
        <pc:spChg chg="del">
          <ac:chgData name="Kishor Kukreja" userId="4b679245-99ba-4686-ad2a-c800244b8fab" providerId="ADAL" clId="{C965E74B-565A-4447-B031-34794DCAFFCE}" dt="2021-12-13T18:20:19.585" v="2998" actId="478"/>
          <ac:spMkLst>
            <pc:docMk/>
            <pc:sldMk cId="1332970255" sldId="2147375580"/>
            <ac:spMk id="20" creationId="{284D1848-FDDF-425F-B69D-04C26D3559F4}"/>
          </ac:spMkLst>
        </pc:spChg>
        <pc:spChg chg="del">
          <ac:chgData name="Kishor Kukreja" userId="4b679245-99ba-4686-ad2a-c800244b8fab" providerId="ADAL" clId="{C965E74B-565A-4447-B031-34794DCAFFCE}" dt="2021-12-13T18:20:19.585" v="2998" actId="478"/>
          <ac:spMkLst>
            <pc:docMk/>
            <pc:sldMk cId="1332970255" sldId="2147375580"/>
            <ac:spMk id="23" creationId="{7883ADC6-D10D-4A57-B837-7F08232F2905}"/>
          </ac:spMkLst>
        </pc:spChg>
        <pc:spChg chg="del">
          <ac:chgData name="Kishor Kukreja" userId="4b679245-99ba-4686-ad2a-c800244b8fab" providerId="ADAL" clId="{C965E74B-565A-4447-B031-34794DCAFFCE}" dt="2021-12-13T18:20:19.585" v="2998" actId="478"/>
          <ac:spMkLst>
            <pc:docMk/>
            <pc:sldMk cId="1332970255" sldId="2147375580"/>
            <ac:spMk id="24" creationId="{E459633D-8B17-416F-AE71-4DC5499387CF}"/>
          </ac:spMkLst>
        </pc:spChg>
        <pc:spChg chg="mod">
          <ac:chgData name="Kishor Kukreja" userId="4b679245-99ba-4686-ad2a-c800244b8fab" providerId="ADAL" clId="{C965E74B-565A-4447-B031-34794DCAFFCE}" dt="2021-12-13T18:20:52.166" v="3029" actId="20577"/>
          <ac:spMkLst>
            <pc:docMk/>
            <pc:sldMk cId="1332970255" sldId="2147375580"/>
            <ac:spMk id="25" creationId="{2D3CE40F-9055-420D-8A54-C488BCC3573F}"/>
          </ac:spMkLst>
        </pc:spChg>
        <pc:spChg chg="del">
          <ac:chgData name="Kishor Kukreja" userId="4b679245-99ba-4686-ad2a-c800244b8fab" providerId="ADAL" clId="{C965E74B-565A-4447-B031-34794DCAFFCE}" dt="2021-12-13T18:20:19.585" v="2998" actId="478"/>
          <ac:spMkLst>
            <pc:docMk/>
            <pc:sldMk cId="1332970255" sldId="2147375580"/>
            <ac:spMk id="26" creationId="{1C0354EC-D81B-47F2-A706-D3FDD57879A9}"/>
          </ac:spMkLst>
        </pc:spChg>
        <pc:spChg chg="mod">
          <ac:chgData name="Kishor Kukreja" userId="4b679245-99ba-4686-ad2a-c800244b8fab" providerId="ADAL" clId="{C965E74B-565A-4447-B031-34794DCAFFCE}" dt="2021-12-13T18:21:16.732" v="3052" actId="20577"/>
          <ac:spMkLst>
            <pc:docMk/>
            <pc:sldMk cId="1332970255" sldId="2147375580"/>
            <ac:spMk id="28" creationId="{0F23C347-446D-48BE-8E0F-36827D619603}"/>
          </ac:spMkLst>
        </pc:spChg>
        <pc:spChg chg="del">
          <ac:chgData name="Kishor Kukreja" userId="4b679245-99ba-4686-ad2a-c800244b8fab" providerId="ADAL" clId="{C965E74B-565A-4447-B031-34794DCAFFCE}" dt="2021-12-13T18:20:19.585" v="2998" actId="478"/>
          <ac:spMkLst>
            <pc:docMk/>
            <pc:sldMk cId="1332970255" sldId="2147375580"/>
            <ac:spMk id="29" creationId="{ACBD28C5-DD26-4073-B0B7-89726CF27A35}"/>
          </ac:spMkLst>
        </pc:spChg>
        <pc:spChg chg="mod">
          <ac:chgData name="Kishor Kukreja" userId="4b679245-99ba-4686-ad2a-c800244b8fab" providerId="ADAL" clId="{C965E74B-565A-4447-B031-34794DCAFFCE}" dt="2021-12-13T18:25:33.289" v="3372" actId="1076"/>
          <ac:spMkLst>
            <pc:docMk/>
            <pc:sldMk cId="1332970255" sldId="2147375580"/>
            <ac:spMk id="31" creationId="{BC1B89A8-B59D-4555-8594-53F58378AE24}"/>
          </ac:spMkLst>
        </pc:spChg>
        <pc:spChg chg="mod">
          <ac:chgData name="Kishor Kukreja" userId="4b679245-99ba-4686-ad2a-c800244b8fab" providerId="ADAL" clId="{C965E74B-565A-4447-B031-34794DCAFFCE}" dt="2021-12-13T18:20:39.667" v="3004"/>
          <ac:spMkLst>
            <pc:docMk/>
            <pc:sldMk cId="1332970255" sldId="2147375580"/>
            <ac:spMk id="32" creationId="{F265F5A0-85C6-4C76-AC00-7AE8E9E4BDD2}"/>
          </ac:spMkLst>
        </pc:spChg>
        <pc:spChg chg="mod">
          <ac:chgData name="Kishor Kukreja" userId="4b679245-99ba-4686-ad2a-c800244b8fab" providerId="ADAL" clId="{C965E74B-565A-4447-B031-34794DCAFFCE}" dt="2021-12-13T18:20:39.667" v="3004"/>
          <ac:spMkLst>
            <pc:docMk/>
            <pc:sldMk cId="1332970255" sldId="2147375580"/>
            <ac:spMk id="33" creationId="{3E96A404-A823-4F64-B1E1-73ADD6652E45}"/>
          </ac:spMkLst>
        </pc:spChg>
        <pc:spChg chg="mod">
          <ac:chgData name="Kishor Kukreja" userId="4b679245-99ba-4686-ad2a-c800244b8fab" providerId="ADAL" clId="{C965E74B-565A-4447-B031-34794DCAFFCE}" dt="2021-12-13T18:20:39.667" v="3004"/>
          <ac:spMkLst>
            <pc:docMk/>
            <pc:sldMk cId="1332970255" sldId="2147375580"/>
            <ac:spMk id="34" creationId="{C4D28BC0-B277-40C8-8E14-4A79602C52B4}"/>
          </ac:spMkLst>
        </pc:spChg>
        <pc:spChg chg="mod">
          <ac:chgData name="Kishor Kukreja" userId="4b679245-99ba-4686-ad2a-c800244b8fab" providerId="ADAL" clId="{C965E74B-565A-4447-B031-34794DCAFFCE}" dt="2021-12-13T18:20:39.667" v="3004"/>
          <ac:spMkLst>
            <pc:docMk/>
            <pc:sldMk cId="1332970255" sldId="2147375580"/>
            <ac:spMk id="35" creationId="{153178F9-D6DB-41F0-96FD-1ADCAC315B80}"/>
          </ac:spMkLst>
        </pc:spChg>
        <pc:spChg chg="mod">
          <ac:chgData name="Kishor Kukreja" userId="4b679245-99ba-4686-ad2a-c800244b8fab" providerId="ADAL" clId="{C965E74B-565A-4447-B031-34794DCAFFCE}" dt="2021-12-13T18:20:39.667" v="3004"/>
          <ac:spMkLst>
            <pc:docMk/>
            <pc:sldMk cId="1332970255" sldId="2147375580"/>
            <ac:spMk id="36" creationId="{FC990488-1209-4DC2-98C4-04BC68F11758}"/>
          </ac:spMkLst>
        </pc:spChg>
        <pc:spChg chg="mod">
          <ac:chgData name="Kishor Kukreja" userId="4b679245-99ba-4686-ad2a-c800244b8fab" providerId="ADAL" clId="{C965E74B-565A-4447-B031-34794DCAFFCE}" dt="2021-12-13T18:20:39.667" v="3004"/>
          <ac:spMkLst>
            <pc:docMk/>
            <pc:sldMk cId="1332970255" sldId="2147375580"/>
            <ac:spMk id="37" creationId="{3C13AD08-6C9F-4A06-A71D-925928253EA1}"/>
          </ac:spMkLst>
        </pc:spChg>
        <pc:spChg chg="add mod">
          <ac:chgData name="Kishor Kukreja" userId="4b679245-99ba-4686-ad2a-c800244b8fab" providerId="ADAL" clId="{C965E74B-565A-4447-B031-34794DCAFFCE}" dt="2021-12-13T20:13:13.453" v="6730" actId="20577"/>
          <ac:spMkLst>
            <pc:docMk/>
            <pc:sldMk cId="1332970255" sldId="2147375580"/>
            <ac:spMk id="38" creationId="{42AB2588-0753-47F6-828C-8877651D9BD3}"/>
          </ac:spMkLst>
        </pc:spChg>
        <pc:spChg chg="add mod">
          <ac:chgData name="Kishor Kukreja" userId="4b679245-99ba-4686-ad2a-c800244b8fab" providerId="ADAL" clId="{C965E74B-565A-4447-B031-34794DCAFFCE}" dt="2021-12-13T18:27:36.262" v="3575" actId="12"/>
          <ac:spMkLst>
            <pc:docMk/>
            <pc:sldMk cId="1332970255" sldId="2147375580"/>
            <ac:spMk id="39" creationId="{D81469B9-1EA1-4365-9AB5-790038F2F524}"/>
          </ac:spMkLst>
        </pc:spChg>
        <pc:spChg chg="add mod">
          <ac:chgData name="Kishor Kukreja" userId="4b679245-99ba-4686-ad2a-c800244b8fab" providerId="ADAL" clId="{C965E74B-565A-4447-B031-34794DCAFFCE}" dt="2021-12-13T18:29:20.304" v="3777" actId="20577"/>
          <ac:spMkLst>
            <pc:docMk/>
            <pc:sldMk cId="1332970255" sldId="2147375580"/>
            <ac:spMk id="40" creationId="{767632B0-1152-4911-B1CA-DA3D4EF1B15C}"/>
          </ac:spMkLst>
        </pc:spChg>
        <pc:spChg chg="mod">
          <ac:chgData name="Kishor Kukreja" userId="4b679245-99ba-4686-ad2a-c800244b8fab" providerId="ADAL" clId="{C965E74B-565A-4447-B031-34794DCAFFCE}" dt="2021-12-13T18:20:40.609" v="3005"/>
          <ac:spMkLst>
            <pc:docMk/>
            <pc:sldMk cId="1332970255" sldId="2147375580"/>
            <ac:spMk id="47" creationId="{D4FD4620-0D51-4CC1-99B1-994DBEB53972}"/>
          </ac:spMkLst>
        </pc:spChg>
        <pc:spChg chg="mod">
          <ac:chgData name="Kishor Kukreja" userId="4b679245-99ba-4686-ad2a-c800244b8fab" providerId="ADAL" clId="{C965E74B-565A-4447-B031-34794DCAFFCE}" dt="2021-12-13T18:20:40.609" v="3005"/>
          <ac:spMkLst>
            <pc:docMk/>
            <pc:sldMk cId="1332970255" sldId="2147375580"/>
            <ac:spMk id="48" creationId="{F6F8EB84-0AE8-48A4-9B23-7876D663EC45}"/>
          </ac:spMkLst>
        </pc:spChg>
        <pc:spChg chg="mod">
          <ac:chgData name="Kishor Kukreja" userId="4b679245-99ba-4686-ad2a-c800244b8fab" providerId="ADAL" clId="{C965E74B-565A-4447-B031-34794DCAFFCE}" dt="2021-12-13T18:20:40.609" v="3005"/>
          <ac:spMkLst>
            <pc:docMk/>
            <pc:sldMk cId="1332970255" sldId="2147375580"/>
            <ac:spMk id="49" creationId="{9434A680-7841-45A5-8D43-AF48995826B6}"/>
          </ac:spMkLst>
        </pc:spChg>
        <pc:spChg chg="mod">
          <ac:chgData name="Kishor Kukreja" userId="4b679245-99ba-4686-ad2a-c800244b8fab" providerId="ADAL" clId="{C965E74B-565A-4447-B031-34794DCAFFCE}" dt="2021-12-13T18:20:40.609" v="3005"/>
          <ac:spMkLst>
            <pc:docMk/>
            <pc:sldMk cId="1332970255" sldId="2147375580"/>
            <ac:spMk id="50" creationId="{99BB4FCA-96B4-47ED-BBCD-A85FCD848B5E}"/>
          </ac:spMkLst>
        </pc:spChg>
        <pc:spChg chg="mod">
          <ac:chgData name="Kishor Kukreja" userId="4b679245-99ba-4686-ad2a-c800244b8fab" providerId="ADAL" clId="{C965E74B-565A-4447-B031-34794DCAFFCE}" dt="2021-12-13T18:20:40.609" v="3005"/>
          <ac:spMkLst>
            <pc:docMk/>
            <pc:sldMk cId="1332970255" sldId="2147375580"/>
            <ac:spMk id="51" creationId="{4F2B20EC-F9BE-48E0-9652-5AABF6A8D865}"/>
          </ac:spMkLst>
        </pc:spChg>
        <pc:spChg chg="mod">
          <ac:chgData name="Kishor Kukreja" userId="4b679245-99ba-4686-ad2a-c800244b8fab" providerId="ADAL" clId="{C965E74B-565A-4447-B031-34794DCAFFCE}" dt="2021-12-13T18:20:40.609" v="3005"/>
          <ac:spMkLst>
            <pc:docMk/>
            <pc:sldMk cId="1332970255" sldId="2147375580"/>
            <ac:spMk id="52" creationId="{86951632-2177-47C3-8E44-436C5A08C136}"/>
          </ac:spMkLst>
        </pc:spChg>
        <pc:spChg chg="mod">
          <ac:chgData name="Kishor Kukreja" userId="4b679245-99ba-4686-ad2a-c800244b8fab" providerId="ADAL" clId="{C965E74B-565A-4447-B031-34794DCAFFCE}" dt="2021-12-13T18:20:40.609" v="3005"/>
          <ac:spMkLst>
            <pc:docMk/>
            <pc:sldMk cId="1332970255" sldId="2147375580"/>
            <ac:spMk id="53" creationId="{742B6800-7691-4284-8A93-31FCD03D24C5}"/>
          </ac:spMkLst>
        </pc:spChg>
        <pc:spChg chg="mod">
          <ac:chgData name="Kishor Kukreja" userId="4b679245-99ba-4686-ad2a-c800244b8fab" providerId="ADAL" clId="{C965E74B-565A-4447-B031-34794DCAFFCE}" dt="2021-12-13T18:20:40.609" v="3005"/>
          <ac:spMkLst>
            <pc:docMk/>
            <pc:sldMk cId="1332970255" sldId="2147375580"/>
            <ac:spMk id="54" creationId="{C0D41C57-7A92-4AD1-8416-BEC9D88A501B}"/>
          </ac:spMkLst>
        </pc:spChg>
        <pc:spChg chg="mod">
          <ac:chgData name="Kishor Kukreja" userId="4b679245-99ba-4686-ad2a-c800244b8fab" providerId="ADAL" clId="{C965E74B-565A-4447-B031-34794DCAFFCE}" dt="2021-12-13T18:20:40.609" v="3005"/>
          <ac:spMkLst>
            <pc:docMk/>
            <pc:sldMk cId="1332970255" sldId="2147375580"/>
            <ac:spMk id="55" creationId="{BA606327-37D0-4AB2-AE6F-5B8E0E026B26}"/>
          </ac:spMkLst>
        </pc:spChg>
        <pc:spChg chg="add del mod">
          <ac:chgData name="Kishor Kukreja" userId="4b679245-99ba-4686-ad2a-c800244b8fab" providerId="ADAL" clId="{C965E74B-565A-4447-B031-34794DCAFFCE}" dt="2021-12-13T18:20:41.950" v="3006"/>
          <ac:spMkLst>
            <pc:docMk/>
            <pc:sldMk cId="1332970255" sldId="2147375580"/>
            <ac:spMk id="56" creationId="{D9802C8C-9875-4672-9E55-EA1E11A196F3}"/>
          </ac:spMkLst>
        </pc:spChg>
        <pc:spChg chg="add del mod">
          <ac:chgData name="Kishor Kukreja" userId="4b679245-99ba-4686-ad2a-c800244b8fab" providerId="ADAL" clId="{C965E74B-565A-4447-B031-34794DCAFFCE}" dt="2021-12-13T18:20:41.950" v="3006"/>
          <ac:spMkLst>
            <pc:docMk/>
            <pc:sldMk cId="1332970255" sldId="2147375580"/>
            <ac:spMk id="57" creationId="{9CD028C8-8CDC-4D55-A7F6-BAD99936775B}"/>
          </ac:spMkLst>
        </pc:spChg>
        <pc:spChg chg="add del mod">
          <ac:chgData name="Kishor Kukreja" userId="4b679245-99ba-4686-ad2a-c800244b8fab" providerId="ADAL" clId="{C965E74B-565A-4447-B031-34794DCAFFCE}" dt="2021-12-13T18:20:41.950" v="3006"/>
          <ac:spMkLst>
            <pc:docMk/>
            <pc:sldMk cId="1332970255" sldId="2147375580"/>
            <ac:spMk id="58" creationId="{E8ADCA8F-F907-4B51-9DE5-22C563F00E5A}"/>
          </ac:spMkLst>
        </pc:spChg>
        <pc:spChg chg="add del mod">
          <ac:chgData name="Kishor Kukreja" userId="4b679245-99ba-4686-ad2a-c800244b8fab" providerId="ADAL" clId="{C965E74B-565A-4447-B031-34794DCAFFCE}" dt="2021-12-13T20:40:54.318" v="7599" actId="478"/>
          <ac:spMkLst>
            <pc:docMk/>
            <pc:sldMk cId="1332970255" sldId="2147375580"/>
            <ac:spMk id="68" creationId="{5A39E26F-8DA4-4003-9F7B-9F397B63BEFF}"/>
          </ac:spMkLst>
        </pc:spChg>
        <pc:grpChg chg="add mod">
          <ac:chgData name="Kishor Kukreja" userId="4b679245-99ba-4686-ad2a-c800244b8fab" providerId="ADAL" clId="{C965E74B-565A-4447-B031-34794DCAFFCE}" dt="2021-12-13T18:20:39.667" v="3004"/>
          <ac:grpSpMkLst>
            <pc:docMk/>
            <pc:sldMk cId="1332970255" sldId="2147375580"/>
            <ac:grpSpMk id="21" creationId="{5B2FE791-A4A1-4A9C-B47A-4781BFCB6E37}"/>
          </ac:grpSpMkLst>
        </pc:grpChg>
        <pc:grpChg chg="mod">
          <ac:chgData name="Kishor Kukreja" userId="4b679245-99ba-4686-ad2a-c800244b8fab" providerId="ADAL" clId="{C965E74B-565A-4447-B031-34794DCAFFCE}" dt="2021-12-13T18:20:39.667" v="3004"/>
          <ac:grpSpMkLst>
            <pc:docMk/>
            <pc:sldMk cId="1332970255" sldId="2147375580"/>
            <ac:grpSpMk id="22" creationId="{6777D42D-7743-4007-9AC9-1A635209CF86}"/>
          </ac:grpSpMkLst>
        </pc:grpChg>
        <pc:grpChg chg="add del mod">
          <ac:chgData name="Kishor Kukreja" userId="4b679245-99ba-4686-ad2a-c800244b8fab" providerId="ADAL" clId="{C965E74B-565A-4447-B031-34794DCAFFCE}" dt="2021-12-13T18:20:41.950" v="3006"/>
          <ac:grpSpMkLst>
            <pc:docMk/>
            <pc:sldMk cId="1332970255" sldId="2147375580"/>
            <ac:grpSpMk id="45" creationId="{838742CD-9843-478E-8E3C-36DD1449EEAA}"/>
          </ac:grpSpMkLst>
        </pc:grpChg>
        <pc:grpChg chg="mod">
          <ac:chgData name="Kishor Kukreja" userId="4b679245-99ba-4686-ad2a-c800244b8fab" providerId="ADAL" clId="{C965E74B-565A-4447-B031-34794DCAFFCE}" dt="2021-12-13T18:20:40.609" v="3005"/>
          <ac:grpSpMkLst>
            <pc:docMk/>
            <pc:sldMk cId="1332970255" sldId="2147375580"/>
            <ac:grpSpMk id="46" creationId="{6B878098-EA37-4545-BB87-C2B0F46C10C3}"/>
          </ac:grpSpMkLst>
        </pc:grpChg>
        <pc:picChg chg="del">
          <ac:chgData name="Kishor Kukreja" userId="4b679245-99ba-4686-ad2a-c800244b8fab" providerId="ADAL" clId="{C965E74B-565A-4447-B031-34794DCAFFCE}" dt="2021-12-13T18:20:19.585" v="2998" actId="478"/>
          <ac:picMkLst>
            <pc:docMk/>
            <pc:sldMk cId="1332970255" sldId="2147375580"/>
            <ac:picMk id="3" creationId="{9539738E-DDC4-4968-A322-160004680CAA}"/>
          </ac:picMkLst>
        </pc:picChg>
        <pc:picChg chg="del">
          <ac:chgData name="Kishor Kukreja" userId="4b679245-99ba-4686-ad2a-c800244b8fab" providerId="ADAL" clId="{C965E74B-565A-4447-B031-34794DCAFFCE}" dt="2021-12-13T18:20:19.585" v="2998" actId="478"/>
          <ac:picMkLst>
            <pc:docMk/>
            <pc:sldMk cId="1332970255" sldId="2147375580"/>
            <ac:picMk id="7" creationId="{ADA2211E-734D-4468-B4DA-7E376893308F}"/>
          </ac:picMkLst>
        </pc:picChg>
        <pc:picChg chg="del">
          <ac:chgData name="Kishor Kukreja" userId="4b679245-99ba-4686-ad2a-c800244b8fab" providerId="ADAL" clId="{C965E74B-565A-4447-B031-34794DCAFFCE}" dt="2021-12-13T18:21:00.934" v="3031" actId="478"/>
          <ac:picMkLst>
            <pc:docMk/>
            <pc:sldMk cId="1332970255" sldId="2147375580"/>
            <ac:picMk id="9" creationId="{94426087-343E-4ECA-9549-F2088DE7CB2F}"/>
          </ac:picMkLst>
        </pc:picChg>
        <pc:picChg chg="del">
          <ac:chgData name="Kishor Kukreja" userId="4b679245-99ba-4686-ad2a-c800244b8fab" providerId="ADAL" clId="{C965E74B-565A-4447-B031-34794DCAFFCE}" dt="2021-12-13T18:20:19.585" v="2998" actId="478"/>
          <ac:picMkLst>
            <pc:docMk/>
            <pc:sldMk cId="1332970255" sldId="2147375580"/>
            <ac:picMk id="27" creationId="{290B8C10-2DB2-459E-8BFF-F80EE66810F7}"/>
          </ac:picMkLst>
        </pc:picChg>
        <pc:picChg chg="del">
          <ac:chgData name="Kishor Kukreja" userId="4b679245-99ba-4686-ad2a-c800244b8fab" providerId="ADAL" clId="{C965E74B-565A-4447-B031-34794DCAFFCE}" dt="2021-12-13T18:20:19.585" v="2998" actId="478"/>
          <ac:picMkLst>
            <pc:docMk/>
            <pc:sldMk cId="1332970255" sldId="2147375580"/>
            <ac:picMk id="30" creationId="{526E3FBD-5157-4FAC-B364-26A201C31AAF}"/>
          </ac:picMkLst>
        </pc:picChg>
        <pc:picChg chg="add del mod">
          <ac:chgData name="Kishor Kukreja" userId="4b679245-99ba-4686-ad2a-c800244b8fab" providerId="ADAL" clId="{C965E74B-565A-4447-B031-34794DCAFFCE}" dt="2021-12-13T18:25:25.429" v="3369" actId="478"/>
          <ac:picMkLst>
            <pc:docMk/>
            <pc:sldMk cId="1332970255" sldId="2147375580"/>
            <ac:picMk id="41" creationId="{961B4FE8-A8D8-4C00-AD3F-41ABB3502CA6}"/>
          </ac:picMkLst>
        </pc:picChg>
        <pc:picChg chg="add del mod">
          <ac:chgData name="Kishor Kukreja" userId="4b679245-99ba-4686-ad2a-c800244b8fab" providerId="ADAL" clId="{C965E74B-565A-4447-B031-34794DCAFFCE}" dt="2021-12-13T18:25:21.027" v="3366" actId="478"/>
          <ac:picMkLst>
            <pc:docMk/>
            <pc:sldMk cId="1332970255" sldId="2147375580"/>
            <ac:picMk id="42" creationId="{FB8A2849-0A05-48CF-B306-C1A26431B798}"/>
          </ac:picMkLst>
        </pc:picChg>
        <pc:picChg chg="add del mod">
          <ac:chgData name="Kishor Kukreja" userId="4b679245-99ba-4686-ad2a-c800244b8fab" providerId="ADAL" clId="{C965E74B-565A-4447-B031-34794DCAFFCE}" dt="2021-12-13T18:25:21.740" v="3367" actId="478"/>
          <ac:picMkLst>
            <pc:docMk/>
            <pc:sldMk cId="1332970255" sldId="2147375580"/>
            <ac:picMk id="43" creationId="{89892FB8-C67F-4710-B283-CD85C3660922}"/>
          </ac:picMkLst>
        </pc:picChg>
        <pc:picChg chg="add del mod">
          <ac:chgData name="Kishor Kukreja" userId="4b679245-99ba-4686-ad2a-c800244b8fab" providerId="ADAL" clId="{C965E74B-565A-4447-B031-34794DCAFFCE}" dt="2021-12-13T18:25:11.971" v="3363" actId="478"/>
          <ac:picMkLst>
            <pc:docMk/>
            <pc:sldMk cId="1332970255" sldId="2147375580"/>
            <ac:picMk id="44" creationId="{884BD473-EB0E-4BF2-9951-EC2460D98A95}"/>
          </ac:picMkLst>
        </pc:picChg>
        <pc:picChg chg="add del mod">
          <ac:chgData name="Kishor Kukreja" userId="4b679245-99ba-4686-ad2a-c800244b8fab" providerId="ADAL" clId="{C965E74B-565A-4447-B031-34794DCAFFCE}" dt="2021-12-13T18:20:41.950" v="3006"/>
          <ac:picMkLst>
            <pc:docMk/>
            <pc:sldMk cId="1332970255" sldId="2147375580"/>
            <ac:picMk id="59" creationId="{56486246-93AB-4631-BCAC-911E052FAB2E}"/>
          </ac:picMkLst>
        </pc:picChg>
        <pc:picChg chg="add del mod">
          <ac:chgData name="Kishor Kukreja" userId="4b679245-99ba-4686-ad2a-c800244b8fab" providerId="ADAL" clId="{C965E74B-565A-4447-B031-34794DCAFFCE}" dt="2021-12-13T18:20:41.950" v="3006"/>
          <ac:picMkLst>
            <pc:docMk/>
            <pc:sldMk cId="1332970255" sldId="2147375580"/>
            <ac:picMk id="60" creationId="{AEE28961-3B03-45E3-8421-E88D0F0B9C3E}"/>
          </ac:picMkLst>
        </pc:picChg>
        <pc:picChg chg="add del mod">
          <ac:chgData name="Kishor Kukreja" userId="4b679245-99ba-4686-ad2a-c800244b8fab" providerId="ADAL" clId="{C965E74B-565A-4447-B031-34794DCAFFCE}" dt="2021-12-13T18:20:41.950" v="3006"/>
          <ac:picMkLst>
            <pc:docMk/>
            <pc:sldMk cId="1332970255" sldId="2147375580"/>
            <ac:picMk id="61" creationId="{6449B03E-961B-430F-B666-5A57F78A36FA}"/>
          </ac:picMkLst>
        </pc:picChg>
        <pc:picChg chg="add del mod">
          <ac:chgData name="Kishor Kukreja" userId="4b679245-99ba-4686-ad2a-c800244b8fab" providerId="ADAL" clId="{C965E74B-565A-4447-B031-34794DCAFFCE}" dt="2021-12-13T18:20:41.950" v="3006"/>
          <ac:picMkLst>
            <pc:docMk/>
            <pc:sldMk cId="1332970255" sldId="2147375580"/>
            <ac:picMk id="62" creationId="{E05306B8-8F2E-4BD2-8101-80DE1CC78BC5}"/>
          </ac:picMkLst>
        </pc:picChg>
        <pc:picChg chg="add del mod">
          <ac:chgData name="Kishor Kukreja" userId="4b679245-99ba-4686-ad2a-c800244b8fab" providerId="ADAL" clId="{C965E74B-565A-4447-B031-34794DCAFFCE}" dt="2021-12-13T18:31:08.875" v="3788" actId="478"/>
          <ac:picMkLst>
            <pc:docMk/>
            <pc:sldMk cId="1332970255" sldId="2147375580"/>
            <ac:picMk id="63" creationId="{F0BF916A-E1F4-4695-82E7-C2019C42309F}"/>
          </ac:picMkLst>
        </pc:picChg>
        <pc:picChg chg="add mod">
          <ac:chgData name="Kishor Kukreja" userId="4b679245-99ba-4686-ad2a-c800244b8fab" providerId="ADAL" clId="{C965E74B-565A-4447-B031-34794DCAFFCE}" dt="2021-12-13T18:25:24.724" v="3368" actId="1076"/>
          <ac:picMkLst>
            <pc:docMk/>
            <pc:sldMk cId="1332970255" sldId="2147375580"/>
            <ac:picMk id="64" creationId="{F67353E1-90FB-42A9-A5D5-85B448AB031B}"/>
          </ac:picMkLst>
        </pc:picChg>
        <pc:picChg chg="add mod">
          <ac:chgData name="Kishor Kukreja" userId="4b679245-99ba-4686-ad2a-c800244b8fab" providerId="ADAL" clId="{C965E74B-565A-4447-B031-34794DCAFFCE}" dt="2021-12-13T18:25:36.375" v="3374" actId="14100"/>
          <ac:picMkLst>
            <pc:docMk/>
            <pc:sldMk cId="1332970255" sldId="2147375580"/>
            <ac:picMk id="65" creationId="{0B9112B8-5C85-457B-906E-585635816269}"/>
          </ac:picMkLst>
        </pc:picChg>
        <pc:picChg chg="add mod">
          <ac:chgData name="Kishor Kukreja" userId="4b679245-99ba-4686-ad2a-c800244b8fab" providerId="ADAL" clId="{C965E74B-565A-4447-B031-34794DCAFFCE}" dt="2021-12-13T18:25:19.278" v="3365"/>
          <ac:picMkLst>
            <pc:docMk/>
            <pc:sldMk cId="1332970255" sldId="2147375580"/>
            <ac:picMk id="66" creationId="{799B4574-5312-4DF2-8AA2-F9A60CFD642E}"/>
          </ac:picMkLst>
        </pc:picChg>
        <pc:picChg chg="add del mod">
          <ac:chgData name="Kishor Kukreja" userId="4b679245-99ba-4686-ad2a-c800244b8fab" providerId="ADAL" clId="{C965E74B-565A-4447-B031-34794DCAFFCE}" dt="2021-12-13T21:16:48.244" v="8426" actId="478"/>
          <ac:picMkLst>
            <pc:docMk/>
            <pc:sldMk cId="1332970255" sldId="2147375580"/>
            <ac:picMk id="67" creationId="{54F79FD5-4BCC-47AA-B34E-DCCDD4FD9C5C}"/>
          </ac:picMkLst>
        </pc:picChg>
        <pc:picChg chg="add mod">
          <ac:chgData name="Kishor Kukreja" userId="4b679245-99ba-4686-ad2a-c800244b8fab" providerId="ADAL" clId="{C965E74B-565A-4447-B031-34794DCAFFCE}" dt="2021-12-13T21:16:48.476" v="8427"/>
          <ac:picMkLst>
            <pc:docMk/>
            <pc:sldMk cId="1332970255" sldId="2147375580"/>
            <ac:picMk id="69" creationId="{2632BF97-3C96-443D-A924-40BB491A1682}"/>
          </ac:picMkLst>
        </pc:picChg>
      </pc:sldChg>
      <pc:sldChg chg="addSp delSp modSp add mod ord">
        <pc:chgData name="Kishor Kukreja" userId="4b679245-99ba-4686-ad2a-c800244b8fab" providerId="ADAL" clId="{C965E74B-565A-4447-B031-34794DCAFFCE}" dt="2021-12-13T21:24:07.606" v="8517" actId="20577"/>
        <pc:sldMkLst>
          <pc:docMk/>
          <pc:sldMk cId="578024512" sldId="2147375581"/>
        </pc:sldMkLst>
        <pc:spChg chg="mod">
          <ac:chgData name="Kishor Kukreja" userId="4b679245-99ba-4686-ad2a-c800244b8fab" providerId="ADAL" clId="{C965E74B-565A-4447-B031-34794DCAFFCE}" dt="2021-12-13T20:17:03.145" v="6763" actId="207"/>
          <ac:spMkLst>
            <pc:docMk/>
            <pc:sldMk cId="578024512" sldId="2147375581"/>
            <ac:spMk id="2" creationId="{4BEA245D-938C-477E-AE10-79AEDCB7796C}"/>
          </ac:spMkLst>
        </pc:spChg>
        <pc:spChg chg="add mod">
          <ac:chgData name="Kishor Kukreja" userId="4b679245-99ba-4686-ad2a-c800244b8fab" providerId="ADAL" clId="{C965E74B-565A-4447-B031-34794DCAFFCE}" dt="2021-12-13T19:37:35.434" v="6214"/>
          <ac:spMkLst>
            <pc:docMk/>
            <pc:sldMk cId="578024512" sldId="2147375581"/>
            <ac:spMk id="4" creationId="{6B6DDB39-6A34-4450-8E82-DB0C16E644AA}"/>
          </ac:spMkLst>
        </pc:spChg>
        <pc:spChg chg="mod">
          <ac:chgData name="Kishor Kukreja" userId="4b679245-99ba-4686-ad2a-c800244b8fab" providerId="ADAL" clId="{C965E74B-565A-4447-B031-34794DCAFFCE}" dt="2021-12-13T19:33:39.733" v="6027" actId="1076"/>
          <ac:spMkLst>
            <pc:docMk/>
            <pc:sldMk cId="578024512" sldId="2147375581"/>
            <ac:spMk id="5" creationId="{667AF1B4-9DD5-45D2-B429-3A620DAF589A}"/>
          </ac:spMkLst>
        </pc:spChg>
        <pc:spChg chg="mod">
          <ac:chgData name="Kishor Kukreja" userId="4b679245-99ba-4686-ad2a-c800244b8fab" providerId="ADAL" clId="{C965E74B-565A-4447-B031-34794DCAFFCE}" dt="2021-12-13T19:34:23.816" v="6082" actId="20577"/>
          <ac:spMkLst>
            <pc:docMk/>
            <pc:sldMk cId="578024512" sldId="2147375581"/>
            <ac:spMk id="11" creationId="{BBB95B80-276F-464D-B7DD-75196AC28273}"/>
          </ac:spMkLst>
        </pc:spChg>
        <pc:spChg chg="mod">
          <ac:chgData name="Kishor Kukreja" userId="4b679245-99ba-4686-ad2a-c800244b8fab" providerId="ADAL" clId="{C965E74B-565A-4447-B031-34794DCAFFCE}" dt="2021-12-13T21:24:07.606" v="8517" actId="20577"/>
          <ac:spMkLst>
            <pc:docMk/>
            <pc:sldMk cId="578024512" sldId="2147375581"/>
            <ac:spMk id="20" creationId="{96FFE0D5-BFA8-4015-BA79-C3510E5C44C7}"/>
          </ac:spMkLst>
        </pc:spChg>
        <pc:spChg chg="mod">
          <ac:chgData name="Kishor Kukreja" userId="4b679245-99ba-4686-ad2a-c800244b8fab" providerId="ADAL" clId="{C965E74B-565A-4447-B031-34794DCAFFCE}" dt="2021-12-13T19:38:38.397" v="6218" actId="1076"/>
          <ac:spMkLst>
            <pc:docMk/>
            <pc:sldMk cId="578024512" sldId="2147375581"/>
            <ac:spMk id="22" creationId="{C38C6041-0D3B-4E72-A09D-342F871BFB4B}"/>
          </ac:spMkLst>
        </pc:spChg>
        <pc:spChg chg="mod">
          <ac:chgData name="Kishor Kukreja" userId="4b679245-99ba-4686-ad2a-c800244b8fab" providerId="ADAL" clId="{C965E74B-565A-4447-B031-34794DCAFFCE}" dt="2021-12-13T19:34:32.279" v="6085" actId="14100"/>
          <ac:spMkLst>
            <pc:docMk/>
            <pc:sldMk cId="578024512" sldId="2147375581"/>
            <ac:spMk id="28" creationId="{A45AD76E-DF34-44B2-B6C1-8B5D7E51AD35}"/>
          </ac:spMkLst>
        </pc:spChg>
        <pc:spChg chg="mod">
          <ac:chgData name="Kishor Kukreja" userId="4b679245-99ba-4686-ad2a-c800244b8fab" providerId="ADAL" clId="{C965E74B-565A-4447-B031-34794DCAFFCE}" dt="2021-12-13T20:16:57.585" v="6762" actId="207"/>
          <ac:spMkLst>
            <pc:docMk/>
            <pc:sldMk cId="578024512" sldId="2147375581"/>
            <ac:spMk id="36" creationId="{EA7CEBA3-2B01-4CA9-9812-4F4A68A256B6}"/>
          </ac:spMkLst>
        </pc:spChg>
        <pc:spChg chg="mod">
          <ac:chgData name="Kishor Kukreja" userId="4b679245-99ba-4686-ad2a-c800244b8fab" providerId="ADAL" clId="{C965E74B-565A-4447-B031-34794DCAFFCE}" dt="2021-12-13T20:16:57.585" v="6762" actId="207"/>
          <ac:spMkLst>
            <pc:docMk/>
            <pc:sldMk cId="578024512" sldId="2147375581"/>
            <ac:spMk id="37" creationId="{87162F3A-8A27-45C3-A408-25EF86B25C82}"/>
          </ac:spMkLst>
        </pc:spChg>
        <pc:spChg chg="mod">
          <ac:chgData name="Kishor Kukreja" userId="4b679245-99ba-4686-ad2a-c800244b8fab" providerId="ADAL" clId="{C965E74B-565A-4447-B031-34794DCAFFCE}" dt="2021-12-13T20:16:57.585" v="6762" actId="207"/>
          <ac:spMkLst>
            <pc:docMk/>
            <pc:sldMk cId="578024512" sldId="2147375581"/>
            <ac:spMk id="38" creationId="{AB3A1919-40AE-4C99-89B6-531F27AFFC73}"/>
          </ac:spMkLst>
        </pc:spChg>
        <pc:spChg chg="mod">
          <ac:chgData name="Kishor Kukreja" userId="4b679245-99ba-4686-ad2a-c800244b8fab" providerId="ADAL" clId="{C965E74B-565A-4447-B031-34794DCAFFCE}" dt="2021-12-13T20:16:57.585" v="6762" actId="207"/>
          <ac:spMkLst>
            <pc:docMk/>
            <pc:sldMk cId="578024512" sldId="2147375581"/>
            <ac:spMk id="41" creationId="{CB401FB1-9960-4FE8-8234-F3A1CB044779}"/>
          </ac:spMkLst>
        </pc:spChg>
        <pc:spChg chg="mod">
          <ac:chgData name="Kishor Kukreja" userId="4b679245-99ba-4686-ad2a-c800244b8fab" providerId="ADAL" clId="{C965E74B-565A-4447-B031-34794DCAFFCE}" dt="2021-12-13T20:16:57.585" v="6762" actId="207"/>
          <ac:spMkLst>
            <pc:docMk/>
            <pc:sldMk cId="578024512" sldId="2147375581"/>
            <ac:spMk id="42" creationId="{7DE83034-1A14-449F-BCCC-517AEE3B01A0}"/>
          </ac:spMkLst>
        </pc:spChg>
        <pc:spChg chg="mod">
          <ac:chgData name="Kishor Kukreja" userId="4b679245-99ba-4686-ad2a-c800244b8fab" providerId="ADAL" clId="{C965E74B-565A-4447-B031-34794DCAFFCE}" dt="2021-12-13T20:16:57.585" v="6762" actId="207"/>
          <ac:spMkLst>
            <pc:docMk/>
            <pc:sldMk cId="578024512" sldId="2147375581"/>
            <ac:spMk id="43" creationId="{D6D70853-EF3A-43B4-861E-7786123B6939}"/>
          </ac:spMkLst>
        </pc:spChg>
        <pc:spChg chg="mod">
          <ac:chgData name="Kishor Kukreja" userId="4b679245-99ba-4686-ad2a-c800244b8fab" providerId="ADAL" clId="{C965E74B-565A-4447-B031-34794DCAFFCE}" dt="2021-12-13T20:16:57.585" v="6762" actId="207"/>
          <ac:spMkLst>
            <pc:docMk/>
            <pc:sldMk cId="578024512" sldId="2147375581"/>
            <ac:spMk id="44" creationId="{5C800A42-63F4-4BF1-BCB1-9C9BD3C65501}"/>
          </ac:spMkLst>
        </pc:spChg>
        <pc:spChg chg="mod">
          <ac:chgData name="Kishor Kukreja" userId="4b679245-99ba-4686-ad2a-c800244b8fab" providerId="ADAL" clId="{C965E74B-565A-4447-B031-34794DCAFFCE}" dt="2021-12-13T20:16:57.585" v="6762" actId="207"/>
          <ac:spMkLst>
            <pc:docMk/>
            <pc:sldMk cId="578024512" sldId="2147375581"/>
            <ac:spMk id="45" creationId="{BDA826DE-A609-4B84-AE29-78C441F7F409}"/>
          </ac:spMkLst>
        </pc:spChg>
        <pc:spChg chg="mod">
          <ac:chgData name="Kishor Kukreja" userId="4b679245-99ba-4686-ad2a-c800244b8fab" providerId="ADAL" clId="{C965E74B-565A-4447-B031-34794DCAFFCE}" dt="2021-12-13T20:16:57.585" v="6762" actId="207"/>
          <ac:spMkLst>
            <pc:docMk/>
            <pc:sldMk cId="578024512" sldId="2147375581"/>
            <ac:spMk id="46" creationId="{A1CB9B06-60C7-4F90-ABB6-B8F202A11147}"/>
          </ac:spMkLst>
        </pc:spChg>
        <pc:spChg chg="mod">
          <ac:chgData name="Kishor Kukreja" userId="4b679245-99ba-4686-ad2a-c800244b8fab" providerId="ADAL" clId="{C965E74B-565A-4447-B031-34794DCAFFCE}" dt="2021-12-13T20:16:57.585" v="6762" actId="207"/>
          <ac:spMkLst>
            <pc:docMk/>
            <pc:sldMk cId="578024512" sldId="2147375581"/>
            <ac:spMk id="47" creationId="{A9816C9A-0C87-46F6-B902-F1E92F574303}"/>
          </ac:spMkLst>
        </pc:spChg>
        <pc:spChg chg="mod">
          <ac:chgData name="Kishor Kukreja" userId="4b679245-99ba-4686-ad2a-c800244b8fab" providerId="ADAL" clId="{C965E74B-565A-4447-B031-34794DCAFFCE}" dt="2021-12-13T20:16:57.585" v="6762" actId="207"/>
          <ac:spMkLst>
            <pc:docMk/>
            <pc:sldMk cId="578024512" sldId="2147375581"/>
            <ac:spMk id="48" creationId="{271551C3-D261-46D2-906D-0CE1B3CDC32B}"/>
          </ac:spMkLst>
        </pc:spChg>
        <pc:spChg chg="mod">
          <ac:chgData name="Kishor Kukreja" userId="4b679245-99ba-4686-ad2a-c800244b8fab" providerId="ADAL" clId="{C965E74B-565A-4447-B031-34794DCAFFCE}" dt="2021-12-13T20:16:57.585" v="6762" actId="207"/>
          <ac:spMkLst>
            <pc:docMk/>
            <pc:sldMk cId="578024512" sldId="2147375581"/>
            <ac:spMk id="49" creationId="{868120C6-5ABB-47C9-A8BB-FCED009292D8}"/>
          </ac:spMkLst>
        </pc:spChg>
        <pc:spChg chg="mod">
          <ac:chgData name="Kishor Kukreja" userId="4b679245-99ba-4686-ad2a-c800244b8fab" providerId="ADAL" clId="{C965E74B-565A-4447-B031-34794DCAFFCE}" dt="2021-12-13T20:16:57.585" v="6762" actId="207"/>
          <ac:spMkLst>
            <pc:docMk/>
            <pc:sldMk cId="578024512" sldId="2147375581"/>
            <ac:spMk id="50" creationId="{8007A44B-8147-4561-A1AD-6333A384DB73}"/>
          </ac:spMkLst>
        </pc:spChg>
        <pc:spChg chg="mod">
          <ac:chgData name="Kishor Kukreja" userId="4b679245-99ba-4686-ad2a-c800244b8fab" providerId="ADAL" clId="{C965E74B-565A-4447-B031-34794DCAFFCE}" dt="2021-12-13T20:17:29.016" v="6767" actId="207"/>
          <ac:spMkLst>
            <pc:docMk/>
            <pc:sldMk cId="578024512" sldId="2147375581"/>
            <ac:spMk id="55" creationId="{50979B94-6400-4E15-AF70-FE74DDCC709B}"/>
          </ac:spMkLst>
        </pc:spChg>
        <pc:spChg chg="mod">
          <ac:chgData name="Kishor Kukreja" userId="4b679245-99ba-4686-ad2a-c800244b8fab" providerId="ADAL" clId="{C965E74B-565A-4447-B031-34794DCAFFCE}" dt="2021-12-13T20:17:32.855" v="6768" actId="207"/>
          <ac:spMkLst>
            <pc:docMk/>
            <pc:sldMk cId="578024512" sldId="2147375581"/>
            <ac:spMk id="56" creationId="{0F6A5456-1C68-4509-A4B5-EBC251A7BE56}"/>
          </ac:spMkLst>
        </pc:spChg>
        <pc:spChg chg="mod">
          <ac:chgData name="Kishor Kukreja" userId="4b679245-99ba-4686-ad2a-c800244b8fab" providerId="ADAL" clId="{C965E74B-565A-4447-B031-34794DCAFFCE}" dt="2021-12-13T20:17:29.016" v="6767" actId="207"/>
          <ac:spMkLst>
            <pc:docMk/>
            <pc:sldMk cId="578024512" sldId="2147375581"/>
            <ac:spMk id="68" creationId="{D11665DD-D533-463F-AAB6-FF8627C39C20}"/>
          </ac:spMkLst>
        </pc:spChg>
        <pc:spChg chg="mod">
          <ac:chgData name="Kishor Kukreja" userId="4b679245-99ba-4686-ad2a-c800244b8fab" providerId="ADAL" clId="{C965E74B-565A-4447-B031-34794DCAFFCE}" dt="2021-12-13T20:17:06.903" v="6764" actId="207"/>
          <ac:spMkLst>
            <pc:docMk/>
            <pc:sldMk cId="578024512" sldId="2147375581"/>
            <ac:spMk id="72" creationId="{8C7E72F9-762C-4248-B447-CA7573F7427E}"/>
          </ac:spMkLst>
        </pc:spChg>
        <pc:spChg chg="add del mod">
          <ac:chgData name="Kishor Kukreja" userId="4b679245-99ba-4686-ad2a-c800244b8fab" providerId="ADAL" clId="{C965E74B-565A-4447-B031-34794DCAFFCE}" dt="2021-12-13T19:34:41.078" v="6087"/>
          <ac:spMkLst>
            <pc:docMk/>
            <pc:sldMk cId="578024512" sldId="2147375581"/>
            <ac:spMk id="73" creationId="{F3F9302A-D7DE-4518-B41E-26A411705301}"/>
          </ac:spMkLst>
        </pc:spChg>
        <pc:spChg chg="mod">
          <ac:chgData name="Kishor Kukreja" userId="4b679245-99ba-4686-ad2a-c800244b8fab" providerId="ADAL" clId="{C965E74B-565A-4447-B031-34794DCAFFCE}" dt="2021-12-13T20:17:29.016" v="6767" actId="207"/>
          <ac:spMkLst>
            <pc:docMk/>
            <pc:sldMk cId="578024512" sldId="2147375581"/>
            <ac:spMk id="74" creationId="{0255268C-7108-4A8F-8DDF-8C3AD7D46F74}"/>
          </ac:spMkLst>
        </pc:spChg>
        <pc:spChg chg="add del mod">
          <ac:chgData name="Kishor Kukreja" userId="4b679245-99ba-4686-ad2a-c800244b8fab" providerId="ADAL" clId="{C965E74B-565A-4447-B031-34794DCAFFCE}" dt="2021-12-13T19:34:41.078" v="6087"/>
          <ac:spMkLst>
            <pc:docMk/>
            <pc:sldMk cId="578024512" sldId="2147375581"/>
            <ac:spMk id="75" creationId="{460E15A6-00BF-4949-A671-FCBC9323EC38}"/>
          </ac:spMkLst>
        </pc:spChg>
        <pc:spChg chg="mod">
          <ac:chgData name="Kishor Kukreja" userId="4b679245-99ba-4686-ad2a-c800244b8fab" providerId="ADAL" clId="{C965E74B-565A-4447-B031-34794DCAFFCE}" dt="2021-12-13T19:34:18.975" v="6078" actId="20577"/>
          <ac:spMkLst>
            <pc:docMk/>
            <pc:sldMk cId="578024512" sldId="2147375581"/>
            <ac:spMk id="76" creationId="{44F8BFF0-06FE-43F7-A3FC-D3FEBDD3068B}"/>
          </ac:spMkLst>
        </pc:spChg>
        <pc:spChg chg="add del mod">
          <ac:chgData name="Kishor Kukreja" userId="4b679245-99ba-4686-ad2a-c800244b8fab" providerId="ADAL" clId="{C965E74B-565A-4447-B031-34794DCAFFCE}" dt="2021-12-13T19:34:41.078" v="6087"/>
          <ac:spMkLst>
            <pc:docMk/>
            <pc:sldMk cId="578024512" sldId="2147375581"/>
            <ac:spMk id="79" creationId="{BDB0F17A-6677-4BD3-BBA5-FE27513FDB18}"/>
          </ac:spMkLst>
        </pc:spChg>
        <pc:spChg chg="mod">
          <ac:chgData name="Kishor Kukreja" userId="4b679245-99ba-4686-ad2a-c800244b8fab" providerId="ADAL" clId="{C965E74B-565A-4447-B031-34794DCAFFCE}" dt="2021-12-13T19:33:54.432" v="6038" actId="1036"/>
          <ac:spMkLst>
            <pc:docMk/>
            <pc:sldMk cId="578024512" sldId="2147375581"/>
            <ac:spMk id="80" creationId="{0DE6EEE8-BBEF-4453-A3C4-89D5293EA50F}"/>
          </ac:spMkLst>
        </pc:spChg>
        <pc:spChg chg="add del mod">
          <ac:chgData name="Kishor Kukreja" userId="4b679245-99ba-4686-ad2a-c800244b8fab" providerId="ADAL" clId="{C965E74B-565A-4447-B031-34794DCAFFCE}" dt="2021-12-13T19:34:41.078" v="6087"/>
          <ac:spMkLst>
            <pc:docMk/>
            <pc:sldMk cId="578024512" sldId="2147375581"/>
            <ac:spMk id="81" creationId="{06BD4D80-FBBF-4E3E-86A8-17BF7427F3AC}"/>
          </ac:spMkLst>
        </pc:spChg>
        <pc:spChg chg="add del mod">
          <ac:chgData name="Kishor Kukreja" userId="4b679245-99ba-4686-ad2a-c800244b8fab" providerId="ADAL" clId="{C965E74B-565A-4447-B031-34794DCAFFCE}" dt="2021-12-13T19:34:41.078" v="6087"/>
          <ac:spMkLst>
            <pc:docMk/>
            <pc:sldMk cId="578024512" sldId="2147375581"/>
            <ac:spMk id="82" creationId="{7ADD1293-8729-4911-AD8E-FEE46664EBBD}"/>
          </ac:spMkLst>
        </pc:spChg>
        <pc:spChg chg="add del mod">
          <ac:chgData name="Kishor Kukreja" userId="4b679245-99ba-4686-ad2a-c800244b8fab" providerId="ADAL" clId="{C965E74B-565A-4447-B031-34794DCAFFCE}" dt="2021-12-13T19:34:41.078" v="6087"/>
          <ac:spMkLst>
            <pc:docMk/>
            <pc:sldMk cId="578024512" sldId="2147375581"/>
            <ac:spMk id="83" creationId="{8EA0DAF6-AD5C-4C3D-AEC9-D6FCB25C235F}"/>
          </ac:spMkLst>
        </pc:spChg>
        <pc:spChg chg="mod">
          <ac:chgData name="Kishor Kukreja" userId="4b679245-99ba-4686-ad2a-c800244b8fab" providerId="ADAL" clId="{C965E74B-565A-4447-B031-34794DCAFFCE}" dt="2021-12-13T20:17:32.855" v="6768" actId="207"/>
          <ac:spMkLst>
            <pc:docMk/>
            <pc:sldMk cId="578024512" sldId="2147375581"/>
            <ac:spMk id="84" creationId="{8C14D5F5-18F2-450D-B5A6-71F4C98C957C}"/>
          </ac:spMkLst>
        </pc:spChg>
        <pc:spChg chg="add del mod">
          <ac:chgData name="Kishor Kukreja" userId="4b679245-99ba-4686-ad2a-c800244b8fab" providerId="ADAL" clId="{C965E74B-565A-4447-B031-34794DCAFFCE}" dt="2021-12-13T19:34:41.078" v="6087"/>
          <ac:spMkLst>
            <pc:docMk/>
            <pc:sldMk cId="578024512" sldId="2147375581"/>
            <ac:spMk id="85" creationId="{EAABACDF-3E56-4B9F-8890-57633432461F}"/>
          </ac:spMkLst>
        </pc:spChg>
        <pc:spChg chg="add del mod">
          <ac:chgData name="Kishor Kukreja" userId="4b679245-99ba-4686-ad2a-c800244b8fab" providerId="ADAL" clId="{C965E74B-565A-4447-B031-34794DCAFFCE}" dt="2021-12-13T19:34:41.078" v="6087"/>
          <ac:spMkLst>
            <pc:docMk/>
            <pc:sldMk cId="578024512" sldId="2147375581"/>
            <ac:spMk id="86" creationId="{0679DC33-FAF8-4764-B996-23FCFA93D1E8}"/>
          </ac:spMkLst>
        </pc:spChg>
        <pc:spChg chg="add del mod">
          <ac:chgData name="Kishor Kukreja" userId="4b679245-99ba-4686-ad2a-c800244b8fab" providerId="ADAL" clId="{C965E74B-565A-4447-B031-34794DCAFFCE}" dt="2021-12-13T19:34:41.078" v="6087"/>
          <ac:spMkLst>
            <pc:docMk/>
            <pc:sldMk cId="578024512" sldId="2147375581"/>
            <ac:spMk id="87" creationId="{AD41CA39-C03A-4507-BDE9-A9F090E0B98D}"/>
          </ac:spMkLst>
        </pc:spChg>
        <pc:spChg chg="add del mod">
          <ac:chgData name="Kishor Kukreja" userId="4b679245-99ba-4686-ad2a-c800244b8fab" providerId="ADAL" clId="{C965E74B-565A-4447-B031-34794DCAFFCE}" dt="2021-12-13T19:34:41.078" v="6087"/>
          <ac:spMkLst>
            <pc:docMk/>
            <pc:sldMk cId="578024512" sldId="2147375581"/>
            <ac:spMk id="88" creationId="{B39FC4CE-240C-4A61-BB5D-0978DA14CE05}"/>
          </ac:spMkLst>
        </pc:spChg>
        <pc:spChg chg="mod">
          <ac:chgData name="Kishor Kukreja" userId="4b679245-99ba-4686-ad2a-c800244b8fab" providerId="ADAL" clId="{C965E74B-565A-4447-B031-34794DCAFFCE}" dt="2021-12-13T20:17:32.855" v="6768" actId="207"/>
          <ac:spMkLst>
            <pc:docMk/>
            <pc:sldMk cId="578024512" sldId="2147375581"/>
            <ac:spMk id="89" creationId="{7E29622E-9041-4CC0-815C-5B152BD1A5A2}"/>
          </ac:spMkLst>
        </pc:spChg>
        <pc:spChg chg="mod">
          <ac:chgData name="Kishor Kukreja" userId="4b679245-99ba-4686-ad2a-c800244b8fab" providerId="ADAL" clId="{C965E74B-565A-4447-B031-34794DCAFFCE}" dt="2021-12-13T20:17:32.855" v="6768" actId="207"/>
          <ac:spMkLst>
            <pc:docMk/>
            <pc:sldMk cId="578024512" sldId="2147375581"/>
            <ac:spMk id="90" creationId="{1219D2B8-549A-4DD3-BB8C-853C9B20529A}"/>
          </ac:spMkLst>
        </pc:spChg>
        <pc:spChg chg="mod">
          <ac:chgData name="Kishor Kukreja" userId="4b679245-99ba-4686-ad2a-c800244b8fab" providerId="ADAL" clId="{C965E74B-565A-4447-B031-34794DCAFFCE}" dt="2021-12-13T20:17:32.855" v="6768" actId="207"/>
          <ac:spMkLst>
            <pc:docMk/>
            <pc:sldMk cId="578024512" sldId="2147375581"/>
            <ac:spMk id="91" creationId="{9B217C1F-9F1A-4D16-BB16-4FA768CA092B}"/>
          </ac:spMkLst>
        </pc:spChg>
        <pc:spChg chg="add del mod">
          <ac:chgData name="Kishor Kukreja" userId="4b679245-99ba-4686-ad2a-c800244b8fab" providerId="ADAL" clId="{C965E74B-565A-4447-B031-34794DCAFFCE}" dt="2021-12-13T19:34:41.078" v="6087"/>
          <ac:spMkLst>
            <pc:docMk/>
            <pc:sldMk cId="578024512" sldId="2147375581"/>
            <ac:spMk id="92" creationId="{0C5CF6FD-94B1-483D-9245-908743518272}"/>
          </ac:spMkLst>
        </pc:spChg>
        <pc:spChg chg="add del mod">
          <ac:chgData name="Kishor Kukreja" userId="4b679245-99ba-4686-ad2a-c800244b8fab" providerId="ADAL" clId="{C965E74B-565A-4447-B031-34794DCAFFCE}" dt="2021-12-13T19:34:41.078" v="6087"/>
          <ac:spMkLst>
            <pc:docMk/>
            <pc:sldMk cId="578024512" sldId="2147375581"/>
            <ac:spMk id="93" creationId="{8E180AFA-5584-40EF-A134-C00B27689457}"/>
          </ac:spMkLst>
        </pc:spChg>
        <pc:spChg chg="add del mod">
          <ac:chgData name="Kishor Kukreja" userId="4b679245-99ba-4686-ad2a-c800244b8fab" providerId="ADAL" clId="{C965E74B-565A-4447-B031-34794DCAFFCE}" dt="2021-12-13T19:34:41.078" v="6087"/>
          <ac:spMkLst>
            <pc:docMk/>
            <pc:sldMk cId="578024512" sldId="2147375581"/>
            <ac:spMk id="94" creationId="{D1A0D5E7-9280-4F3C-B3F6-A38FA93034FE}"/>
          </ac:spMkLst>
        </pc:spChg>
        <pc:spChg chg="mod">
          <ac:chgData name="Kishor Kukreja" userId="4b679245-99ba-4686-ad2a-c800244b8fab" providerId="ADAL" clId="{C965E74B-565A-4447-B031-34794DCAFFCE}" dt="2021-12-13T20:17:29.016" v="6767" actId="207"/>
          <ac:spMkLst>
            <pc:docMk/>
            <pc:sldMk cId="578024512" sldId="2147375581"/>
            <ac:spMk id="95" creationId="{66305C1D-0992-4E9F-8629-144B092DC731}"/>
          </ac:spMkLst>
        </pc:spChg>
        <pc:spChg chg="mod">
          <ac:chgData name="Kishor Kukreja" userId="4b679245-99ba-4686-ad2a-c800244b8fab" providerId="ADAL" clId="{C965E74B-565A-4447-B031-34794DCAFFCE}" dt="2021-12-13T20:17:29.016" v="6767" actId="207"/>
          <ac:spMkLst>
            <pc:docMk/>
            <pc:sldMk cId="578024512" sldId="2147375581"/>
            <ac:spMk id="96" creationId="{895EAF41-CBB9-44AB-9F99-4DFFB06C8A8D}"/>
          </ac:spMkLst>
        </pc:spChg>
        <pc:spChg chg="mod">
          <ac:chgData name="Kishor Kukreja" userId="4b679245-99ba-4686-ad2a-c800244b8fab" providerId="ADAL" clId="{C965E74B-565A-4447-B031-34794DCAFFCE}" dt="2021-12-13T20:17:29.016" v="6767" actId="207"/>
          <ac:spMkLst>
            <pc:docMk/>
            <pc:sldMk cId="578024512" sldId="2147375581"/>
            <ac:spMk id="97" creationId="{91A37140-7ECB-401E-B29E-AF8EFBBD8233}"/>
          </ac:spMkLst>
        </pc:spChg>
        <pc:spChg chg="mod">
          <ac:chgData name="Kishor Kukreja" userId="4b679245-99ba-4686-ad2a-c800244b8fab" providerId="ADAL" clId="{C965E74B-565A-4447-B031-34794DCAFFCE}" dt="2021-12-13T20:17:29.016" v="6767" actId="207"/>
          <ac:spMkLst>
            <pc:docMk/>
            <pc:sldMk cId="578024512" sldId="2147375581"/>
            <ac:spMk id="98" creationId="{380ED616-AA42-4192-814A-078175346789}"/>
          </ac:spMkLst>
        </pc:spChg>
        <pc:spChg chg="mod">
          <ac:chgData name="Kishor Kukreja" userId="4b679245-99ba-4686-ad2a-c800244b8fab" providerId="ADAL" clId="{C965E74B-565A-4447-B031-34794DCAFFCE}" dt="2021-12-13T20:17:29.016" v="6767" actId="207"/>
          <ac:spMkLst>
            <pc:docMk/>
            <pc:sldMk cId="578024512" sldId="2147375581"/>
            <ac:spMk id="99" creationId="{111630D4-6E34-412F-8CF4-BF060E21DEFC}"/>
          </ac:spMkLst>
        </pc:spChg>
        <pc:spChg chg="mod">
          <ac:chgData name="Kishor Kukreja" userId="4b679245-99ba-4686-ad2a-c800244b8fab" providerId="ADAL" clId="{C965E74B-565A-4447-B031-34794DCAFFCE}" dt="2021-12-13T20:17:29.016" v="6767" actId="207"/>
          <ac:spMkLst>
            <pc:docMk/>
            <pc:sldMk cId="578024512" sldId="2147375581"/>
            <ac:spMk id="100" creationId="{ABEAA0A2-F15F-4BAA-A255-6091014A334C}"/>
          </ac:spMkLst>
        </pc:spChg>
        <pc:spChg chg="mod">
          <ac:chgData name="Kishor Kukreja" userId="4b679245-99ba-4686-ad2a-c800244b8fab" providerId="ADAL" clId="{C965E74B-565A-4447-B031-34794DCAFFCE}" dt="2021-12-13T20:17:29.016" v="6767" actId="207"/>
          <ac:spMkLst>
            <pc:docMk/>
            <pc:sldMk cId="578024512" sldId="2147375581"/>
            <ac:spMk id="101" creationId="{B60B7BAE-8B82-4941-89FE-491F2954AFF2}"/>
          </ac:spMkLst>
        </pc:spChg>
        <pc:spChg chg="mod">
          <ac:chgData name="Kishor Kukreja" userId="4b679245-99ba-4686-ad2a-c800244b8fab" providerId="ADAL" clId="{C965E74B-565A-4447-B031-34794DCAFFCE}" dt="2021-12-13T20:16:57.585" v="6762" actId="207"/>
          <ac:spMkLst>
            <pc:docMk/>
            <pc:sldMk cId="578024512" sldId="2147375581"/>
            <ac:spMk id="102" creationId="{3ED08FF5-A14A-4675-B807-A791FACD04F0}"/>
          </ac:spMkLst>
        </pc:spChg>
        <pc:spChg chg="mod">
          <ac:chgData name="Kishor Kukreja" userId="4b679245-99ba-4686-ad2a-c800244b8fab" providerId="ADAL" clId="{C965E74B-565A-4447-B031-34794DCAFFCE}" dt="2021-12-13T20:17:29.016" v="6767" actId="207"/>
          <ac:spMkLst>
            <pc:docMk/>
            <pc:sldMk cId="578024512" sldId="2147375581"/>
            <ac:spMk id="103" creationId="{B0483AB0-7DB1-4009-A2E5-D60FD4F8CF5E}"/>
          </ac:spMkLst>
        </pc:spChg>
        <pc:spChg chg="mod">
          <ac:chgData name="Kishor Kukreja" userId="4b679245-99ba-4686-ad2a-c800244b8fab" providerId="ADAL" clId="{C965E74B-565A-4447-B031-34794DCAFFCE}" dt="2021-12-13T20:17:29.016" v="6767" actId="207"/>
          <ac:spMkLst>
            <pc:docMk/>
            <pc:sldMk cId="578024512" sldId="2147375581"/>
            <ac:spMk id="104" creationId="{A1B7C72B-DB56-4374-BE48-DE7BA31419BD}"/>
          </ac:spMkLst>
        </pc:spChg>
        <pc:spChg chg="mod">
          <ac:chgData name="Kishor Kukreja" userId="4b679245-99ba-4686-ad2a-c800244b8fab" providerId="ADAL" clId="{C965E74B-565A-4447-B031-34794DCAFFCE}" dt="2021-12-13T20:17:29.016" v="6767" actId="207"/>
          <ac:spMkLst>
            <pc:docMk/>
            <pc:sldMk cId="578024512" sldId="2147375581"/>
            <ac:spMk id="105" creationId="{2FDFDCE8-1C3C-49CD-9974-ED8E0DA68ADE}"/>
          </ac:spMkLst>
        </pc:spChg>
        <pc:spChg chg="mod">
          <ac:chgData name="Kishor Kukreja" userId="4b679245-99ba-4686-ad2a-c800244b8fab" providerId="ADAL" clId="{C965E74B-565A-4447-B031-34794DCAFFCE}" dt="2021-12-13T20:17:29.016" v="6767" actId="207"/>
          <ac:spMkLst>
            <pc:docMk/>
            <pc:sldMk cId="578024512" sldId="2147375581"/>
            <ac:spMk id="106" creationId="{47232F50-E8DA-45E0-8AC0-6A128942EC13}"/>
          </ac:spMkLst>
        </pc:spChg>
        <pc:spChg chg="mod">
          <ac:chgData name="Kishor Kukreja" userId="4b679245-99ba-4686-ad2a-c800244b8fab" providerId="ADAL" clId="{C965E74B-565A-4447-B031-34794DCAFFCE}" dt="2021-12-13T20:17:32.855" v="6768" actId="207"/>
          <ac:spMkLst>
            <pc:docMk/>
            <pc:sldMk cId="578024512" sldId="2147375581"/>
            <ac:spMk id="107" creationId="{B219C725-9B96-4493-9BEF-3FFAEA487DFB}"/>
          </ac:spMkLst>
        </pc:spChg>
        <pc:spChg chg="mod">
          <ac:chgData name="Kishor Kukreja" userId="4b679245-99ba-4686-ad2a-c800244b8fab" providerId="ADAL" clId="{C965E74B-565A-4447-B031-34794DCAFFCE}" dt="2021-12-13T20:17:32.855" v="6768" actId="207"/>
          <ac:spMkLst>
            <pc:docMk/>
            <pc:sldMk cId="578024512" sldId="2147375581"/>
            <ac:spMk id="108" creationId="{CA66FB5A-5625-4824-AE4A-C81E9FCB0104}"/>
          </ac:spMkLst>
        </pc:spChg>
        <pc:spChg chg="mod">
          <ac:chgData name="Kishor Kukreja" userId="4b679245-99ba-4686-ad2a-c800244b8fab" providerId="ADAL" clId="{C965E74B-565A-4447-B031-34794DCAFFCE}" dt="2021-12-13T20:17:32.855" v="6768" actId="207"/>
          <ac:spMkLst>
            <pc:docMk/>
            <pc:sldMk cId="578024512" sldId="2147375581"/>
            <ac:spMk id="109" creationId="{F189C022-FC86-4485-8498-18444C28C039}"/>
          </ac:spMkLst>
        </pc:spChg>
        <pc:spChg chg="mod">
          <ac:chgData name="Kishor Kukreja" userId="4b679245-99ba-4686-ad2a-c800244b8fab" providerId="ADAL" clId="{C965E74B-565A-4447-B031-34794DCAFFCE}" dt="2021-12-13T20:17:32.855" v="6768" actId="207"/>
          <ac:spMkLst>
            <pc:docMk/>
            <pc:sldMk cId="578024512" sldId="2147375581"/>
            <ac:spMk id="110" creationId="{66EEBAC0-6179-4322-8781-041FF6235B8F}"/>
          </ac:spMkLst>
        </pc:spChg>
        <pc:spChg chg="mod">
          <ac:chgData name="Kishor Kukreja" userId="4b679245-99ba-4686-ad2a-c800244b8fab" providerId="ADAL" clId="{C965E74B-565A-4447-B031-34794DCAFFCE}" dt="2021-12-13T20:17:32.855" v="6768" actId="207"/>
          <ac:spMkLst>
            <pc:docMk/>
            <pc:sldMk cId="578024512" sldId="2147375581"/>
            <ac:spMk id="111" creationId="{95789F6C-3D34-4A68-9D3D-5B815BC987A1}"/>
          </ac:spMkLst>
        </pc:spChg>
        <pc:spChg chg="mod">
          <ac:chgData name="Kishor Kukreja" userId="4b679245-99ba-4686-ad2a-c800244b8fab" providerId="ADAL" clId="{C965E74B-565A-4447-B031-34794DCAFFCE}" dt="2021-12-13T20:17:32.855" v="6768" actId="207"/>
          <ac:spMkLst>
            <pc:docMk/>
            <pc:sldMk cId="578024512" sldId="2147375581"/>
            <ac:spMk id="112" creationId="{DF122303-6640-4B64-8218-3BBE84EC4366}"/>
          </ac:spMkLst>
        </pc:spChg>
        <pc:spChg chg="mod">
          <ac:chgData name="Kishor Kukreja" userId="4b679245-99ba-4686-ad2a-c800244b8fab" providerId="ADAL" clId="{C965E74B-565A-4447-B031-34794DCAFFCE}" dt="2021-12-13T20:17:32.855" v="6768" actId="207"/>
          <ac:spMkLst>
            <pc:docMk/>
            <pc:sldMk cId="578024512" sldId="2147375581"/>
            <ac:spMk id="113" creationId="{EFDFCDDB-F98E-4D73-AFDD-88E2A974E4BD}"/>
          </ac:spMkLst>
        </pc:spChg>
        <pc:spChg chg="mod">
          <ac:chgData name="Kishor Kukreja" userId="4b679245-99ba-4686-ad2a-c800244b8fab" providerId="ADAL" clId="{C965E74B-565A-4447-B031-34794DCAFFCE}" dt="2021-12-13T20:17:32.855" v="6768" actId="207"/>
          <ac:spMkLst>
            <pc:docMk/>
            <pc:sldMk cId="578024512" sldId="2147375581"/>
            <ac:spMk id="114" creationId="{2531D5C6-5F54-4192-BA40-E86C26E98855}"/>
          </ac:spMkLst>
        </pc:spChg>
        <pc:spChg chg="mod">
          <ac:chgData name="Kishor Kukreja" userId="4b679245-99ba-4686-ad2a-c800244b8fab" providerId="ADAL" clId="{C965E74B-565A-4447-B031-34794DCAFFCE}" dt="2021-12-13T20:17:32.855" v="6768" actId="207"/>
          <ac:spMkLst>
            <pc:docMk/>
            <pc:sldMk cId="578024512" sldId="2147375581"/>
            <ac:spMk id="115" creationId="{709CB7AD-B7EE-42B0-AB63-3129C283B5F0}"/>
          </ac:spMkLst>
        </pc:spChg>
        <pc:spChg chg="mod">
          <ac:chgData name="Kishor Kukreja" userId="4b679245-99ba-4686-ad2a-c800244b8fab" providerId="ADAL" clId="{C965E74B-565A-4447-B031-34794DCAFFCE}" dt="2021-12-13T20:17:32.855" v="6768" actId="207"/>
          <ac:spMkLst>
            <pc:docMk/>
            <pc:sldMk cId="578024512" sldId="2147375581"/>
            <ac:spMk id="116" creationId="{D8707816-3017-484B-A9DA-749BC3BD9A6B}"/>
          </ac:spMkLst>
        </pc:spChg>
        <pc:spChg chg="mod">
          <ac:chgData name="Kishor Kukreja" userId="4b679245-99ba-4686-ad2a-c800244b8fab" providerId="ADAL" clId="{C965E74B-565A-4447-B031-34794DCAFFCE}" dt="2021-12-13T20:17:32.855" v="6768" actId="207"/>
          <ac:spMkLst>
            <pc:docMk/>
            <pc:sldMk cId="578024512" sldId="2147375581"/>
            <ac:spMk id="117" creationId="{4321FC26-059A-47A3-AD92-53F4B4FB47B0}"/>
          </ac:spMkLst>
        </pc:spChg>
        <pc:spChg chg="mod">
          <ac:chgData name="Kishor Kukreja" userId="4b679245-99ba-4686-ad2a-c800244b8fab" providerId="ADAL" clId="{C965E74B-565A-4447-B031-34794DCAFFCE}" dt="2021-12-13T20:17:32.855" v="6768" actId="207"/>
          <ac:spMkLst>
            <pc:docMk/>
            <pc:sldMk cId="578024512" sldId="2147375581"/>
            <ac:spMk id="118" creationId="{849B9048-B3BF-4FBE-AFCE-1EC4421EA67E}"/>
          </ac:spMkLst>
        </pc:spChg>
        <pc:spChg chg="mod">
          <ac:chgData name="Kishor Kukreja" userId="4b679245-99ba-4686-ad2a-c800244b8fab" providerId="ADAL" clId="{C965E74B-565A-4447-B031-34794DCAFFCE}" dt="2021-12-13T20:17:32.855" v="6768" actId="207"/>
          <ac:spMkLst>
            <pc:docMk/>
            <pc:sldMk cId="578024512" sldId="2147375581"/>
            <ac:spMk id="119" creationId="{4D159E02-8FE3-4A6F-B8C5-CF0AA61599F2}"/>
          </ac:spMkLst>
        </pc:spChg>
        <pc:spChg chg="mod">
          <ac:chgData name="Kishor Kukreja" userId="4b679245-99ba-4686-ad2a-c800244b8fab" providerId="ADAL" clId="{C965E74B-565A-4447-B031-34794DCAFFCE}" dt="2021-12-13T20:17:32.855" v="6768" actId="207"/>
          <ac:spMkLst>
            <pc:docMk/>
            <pc:sldMk cId="578024512" sldId="2147375581"/>
            <ac:spMk id="120" creationId="{6FF7ECAA-B26A-4D95-8716-31F4ED6FB289}"/>
          </ac:spMkLst>
        </pc:spChg>
        <pc:spChg chg="add del mod">
          <ac:chgData name="Kishor Kukreja" userId="4b679245-99ba-4686-ad2a-c800244b8fab" providerId="ADAL" clId="{C965E74B-565A-4447-B031-34794DCAFFCE}" dt="2021-12-13T19:34:41.078" v="6087"/>
          <ac:spMkLst>
            <pc:docMk/>
            <pc:sldMk cId="578024512" sldId="2147375581"/>
            <ac:spMk id="121" creationId="{41AEF52A-4F38-437A-8720-C2AEC19F83DE}"/>
          </ac:spMkLst>
        </pc:spChg>
        <pc:spChg chg="add del mod">
          <ac:chgData name="Kishor Kukreja" userId="4b679245-99ba-4686-ad2a-c800244b8fab" providerId="ADAL" clId="{C965E74B-565A-4447-B031-34794DCAFFCE}" dt="2021-12-13T19:34:41.078" v="6087"/>
          <ac:spMkLst>
            <pc:docMk/>
            <pc:sldMk cId="578024512" sldId="2147375581"/>
            <ac:spMk id="122" creationId="{AB718E51-5AD6-435C-A341-6D19E95B1640}"/>
          </ac:spMkLst>
        </pc:spChg>
        <pc:spChg chg="add del mod">
          <ac:chgData name="Kishor Kukreja" userId="4b679245-99ba-4686-ad2a-c800244b8fab" providerId="ADAL" clId="{C965E74B-565A-4447-B031-34794DCAFFCE}" dt="2021-12-13T19:34:41.078" v="6087"/>
          <ac:spMkLst>
            <pc:docMk/>
            <pc:sldMk cId="578024512" sldId="2147375581"/>
            <ac:spMk id="123" creationId="{A656575E-051F-4D51-A2D8-2EE5D985C3E0}"/>
          </ac:spMkLst>
        </pc:spChg>
        <pc:spChg chg="add del mod">
          <ac:chgData name="Kishor Kukreja" userId="4b679245-99ba-4686-ad2a-c800244b8fab" providerId="ADAL" clId="{C965E74B-565A-4447-B031-34794DCAFFCE}" dt="2021-12-13T19:34:41.078" v="6087"/>
          <ac:spMkLst>
            <pc:docMk/>
            <pc:sldMk cId="578024512" sldId="2147375581"/>
            <ac:spMk id="124" creationId="{584A9611-906A-4AF8-90F5-F2CEF823F709}"/>
          </ac:spMkLst>
        </pc:spChg>
        <pc:spChg chg="add del mod">
          <ac:chgData name="Kishor Kukreja" userId="4b679245-99ba-4686-ad2a-c800244b8fab" providerId="ADAL" clId="{C965E74B-565A-4447-B031-34794DCAFFCE}" dt="2021-12-13T19:34:41.078" v="6087"/>
          <ac:spMkLst>
            <pc:docMk/>
            <pc:sldMk cId="578024512" sldId="2147375581"/>
            <ac:spMk id="125" creationId="{9F95DD97-21D9-4DAC-86C6-BDF4BAB37B16}"/>
          </ac:spMkLst>
        </pc:spChg>
        <pc:spChg chg="add mod">
          <ac:chgData name="Kishor Kukreja" userId="4b679245-99ba-4686-ad2a-c800244b8fab" providerId="ADAL" clId="{C965E74B-565A-4447-B031-34794DCAFFCE}" dt="2021-12-13T19:34:43.109" v="6089" actId="571"/>
          <ac:spMkLst>
            <pc:docMk/>
            <pc:sldMk cId="578024512" sldId="2147375581"/>
            <ac:spMk id="126" creationId="{DFE18B75-4E88-4EE1-834F-00F762579275}"/>
          </ac:spMkLst>
        </pc:spChg>
        <pc:spChg chg="add mod">
          <ac:chgData name="Kishor Kukreja" userId="4b679245-99ba-4686-ad2a-c800244b8fab" providerId="ADAL" clId="{C965E74B-565A-4447-B031-34794DCAFFCE}" dt="2021-12-13T20:16:57.585" v="6762" actId="207"/>
          <ac:spMkLst>
            <pc:docMk/>
            <pc:sldMk cId="578024512" sldId="2147375581"/>
            <ac:spMk id="127" creationId="{97D6C3D9-F800-4F9E-8122-78F491C15D64}"/>
          </ac:spMkLst>
        </pc:spChg>
        <pc:spChg chg="add mod">
          <ac:chgData name="Kishor Kukreja" userId="4b679245-99ba-4686-ad2a-c800244b8fab" providerId="ADAL" clId="{C965E74B-565A-4447-B031-34794DCAFFCE}" dt="2021-12-13T20:16:57.585" v="6762" actId="207"/>
          <ac:spMkLst>
            <pc:docMk/>
            <pc:sldMk cId="578024512" sldId="2147375581"/>
            <ac:spMk id="128" creationId="{BDAEC055-27E8-44C9-AACE-41C5D355C5A5}"/>
          </ac:spMkLst>
        </pc:spChg>
        <pc:spChg chg="add mod">
          <ac:chgData name="Kishor Kukreja" userId="4b679245-99ba-4686-ad2a-c800244b8fab" providerId="ADAL" clId="{C965E74B-565A-4447-B031-34794DCAFFCE}" dt="2021-12-13T20:16:57.585" v="6762" actId="207"/>
          <ac:spMkLst>
            <pc:docMk/>
            <pc:sldMk cId="578024512" sldId="2147375581"/>
            <ac:spMk id="129" creationId="{A5EB8E57-D66B-4DA3-B1BB-986C634D66CD}"/>
          </ac:spMkLst>
        </pc:spChg>
        <pc:spChg chg="add mod">
          <ac:chgData name="Kishor Kukreja" userId="4b679245-99ba-4686-ad2a-c800244b8fab" providerId="ADAL" clId="{C965E74B-565A-4447-B031-34794DCAFFCE}" dt="2021-12-13T20:16:57.585" v="6762" actId="207"/>
          <ac:spMkLst>
            <pc:docMk/>
            <pc:sldMk cId="578024512" sldId="2147375581"/>
            <ac:spMk id="130" creationId="{7BCB90B5-5C29-43B9-8384-EDD07065D9C5}"/>
          </ac:spMkLst>
        </pc:spChg>
        <pc:spChg chg="add mod">
          <ac:chgData name="Kishor Kukreja" userId="4b679245-99ba-4686-ad2a-c800244b8fab" providerId="ADAL" clId="{C965E74B-565A-4447-B031-34794DCAFFCE}" dt="2021-12-13T20:16:57.585" v="6762" actId="207"/>
          <ac:spMkLst>
            <pc:docMk/>
            <pc:sldMk cId="578024512" sldId="2147375581"/>
            <ac:spMk id="131" creationId="{234FE48A-AB84-41FA-BDEE-E98BBA576655}"/>
          </ac:spMkLst>
        </pc:spChg>
        <pc:spChg chg="add mod">
          <ac:chgData name="Kishor Kukreja" userId="4b679245-99ba-4686-ad2a-c800244b8fab" providerId="ADAL" clId="{C965E74B-565A-4447-B031-34794DCAFFCE}" dt="2021-12-13T20:16:57.585" v="6762" actId="207"/>
          <ac:spMkLst>
            <pc:docMk/>
            <pc:sldMk cId="578024512" sldId="2147375581"/>
            <ac:spMk id="132" creationId="{63ED0053-4D1A-4710-B761-CFAA6B151FD7}"/>
          </ac:spMkLst>
        </pc:spChg>
        <pc:spChg chg="add mod">
          <ac:chgData name="Kishor Kukreja" userId="4b679245-99ba-4686-ad2a-c800244b8fab" providerId="ADAL" clId="{C965E74B-565A-4447-B031-34794DCAFFCE}" dt="2021-12-13T20:16:57.585" v="6762" actId="207"/>
          <ac:spMkLst>
            <pc:docMk/>
            <pc:sldMk cId="578024512" sldId="2147375581"/>
            <ac:spMk id="133" creationId="{DC589F58-BBC8-49AC-A6DC-E4D0C758ACB8}"/>
          </ac:spMkLst>
        </pc:spChg>
        <pc:spChg chg="add mod">
          <ac:chgData name="Kishor Kukreja" userId="4b679245-99ba-4686-ad2a-c800244b8fab" providerId="ADAL" clId="{C965E74B-565A-4447-B031-34794DCAFFCE}" dt="2021-12-13T20:16:57.585" v="6762" actId="207"/>
          <ac:spMkLst>
            <pc:docMk/>
            <pc:sldMk cId="578024512" sldId="2147375581"/>
            <ac:spMk id="134" creationId="{9E152729-92F4-4227-9C52-848522535391}"/>
          </ac:spMkLst>
        </pc:spChg>
        <pc:spChg chg="add mod">
          <ac:chgData name="Kishor Kukreja" userId="4b679245-99ba-4686-ad2a-c800244b8fab" providerId="ADAL" clId="{C965E74B-565A-4447-B031-34794DCAFFCE}" dt="2021-12-13T20:16:57.585" v="6762" actId="207"/>
          <ac:spMkLst>
            <pc:docMk/>
            <pc:sldMk cId="578024512" sldId="2147375581"/>
            <ac:spMk id="135" creationId="{1474EC81-E4AD-44DC-9D48-A3D0259C88E4}"/>
          </ac:spMkLst>
        </pc:spChg>
        <pc:spChg chg="add mod">
          <ac:chgData name="Kishor Kukreja" userId="4b679245-99ba-4686-ad2a-c800244b8fab" providerId="ADAL" clId="{C965E74B-565A-4447-B031-34794DCAFFCE}" dt="2021-12-13T20:16:57.585" v="6762" actId="207"/>
          <ac:spMkLst>
            <pc:docMk/>
            <pc:sldMk cId="578024512" sldId="2147375581"/>
            <ac:spMk id="136" creationId="{AC5BDD95-1FE1-461E-850C-20F8A343C0B0}"/>
          </ac:spMkLst>
        </pc:spChg>
        <pc:spChg chg="add mod">
          <ac:chgData name="Kishor Kukreja" userId="4b679245-99ba-4686-ad2a-c800244b8fab" providerId="ADAL" clId="{C965E74B-565A-4447-B031-34794DCAFFCE}" dt="2021-12-13T20:16:57.585" v="6762" actId="207"/>
          <ac:spMkLst>
            <pc:docMk/>
            <pc:sldMk cId="578024512" sldId="2147375581"/>
            <ac:spMk id="137" creationId="{5BBF4DDD-0013-4ED6-A6A1-267C05BE87C1}"/>
          </ac:spMkLst>
        </pc:spChg>
        <pc:spChg chg="add mod">
          <ac:chgData name="Kishor Kukreja" userId="4b679245-99ba-4686-ad2a-c800244b8fab" providerId="ADAL" clId="{C965E74B-565A-4447-B031-34794DCAFFCE}" dt="2021-12-13T20:16:57.585" v="6762" actId="207"/>
          <ac:spMkLst>
            <pc:docMk/>
            <pc:sldMk cId="578024512" sldId="2147375581"/>
            <ac:spMk id="138" creationId="{FCF76F7F-D949-4731-8E11-75DE90ACEE7F}"/>
          </ac:spMkLst>
        </pc:spChg>
        <pc:spChg chg="add mod">
          <ac:chgData name="Kishor Kukreja" userId="4b679245-99ba-4686-ad2a-c800244b8fab" providerId="ADAL" clId="{C965E74B-565A-4447-B031-34794DCAFFCE}" dt="2021-12-13T20:16:57.585" v="6762" actId="207"/>
          <ac:spMkLst>
            <pc:docMk/>
            <pc:sldMk cId="578024512" sldId="2147375581"/>
            <ac:spMk id="139" creationId="{FEE49EF8-F5DB-48A0-AACC-7F9B0EAD4449}"/>
          </ac:spMkLst>
        </pc:spChg>
        <pc:spChg chg="add mod">
          <ac:chgData name="Kishor Kukreja" userId="4b679245-99ba-4686-ad2a-c800244b8fab" providerId="ADAL" clId="{C965E74B-565A-4447-B031-34794DCAFFCE}" dt="2021-12-13T20:16:57.585" v="6762" actId="207"/>
          <ac:spMkLst>
            <pc:docMk/>
            <pc:sldMk cId="578024512" sldId="2147375581"/>
            <ac:spMk id="140" creationId="{83CC9EBC-8709-4891-A033-247D663989BA}"/>
          </ac:spMkLst>
        </pc:spChg>
        <pc:spChg chg="add mod">
          <ac:chgData name="Kishor Kukreja" userId="4b679245-99ba-4686-ad2a-c800244b8fab" providerId="ADAL" clId="{C965E74B-565A-4447-B031-34794DCAFFCE}" dt="2021-12-13T20:16:57.585" v="6762" actId="207"/>
          <ac:spMkLst>
            <pc:docMk/>
            <pc:sldMk cId="578024512" sldId="2147375581"/>
            <ac:spMk id="141" creationId="{38353CDA-5917-467F-845A-E00A558ED599}"/>
          </ac:spMkLst>
        </pc:spChg>
        <pc:spChg chg="add mod">
          <ac:chgData name="Kishor Kukreja" userId="4b679245-99ba-4686-ad2a-c800244b8fab" providerId="ADAL" clId="{C965E74B-565A-4447-B031-34794DCAFFCE}" dt="2021-12-13T20:16:57.585" v="6762" actId="207"/>
          <ac:spMkLst>
            <pc:docMk/>
            <pc:sldMk cId="578024512" sldId="2147375581"/>
            <ac:spMk id="142" creationId="{DA3CDFDD-BD2B-4CCD-9AE9-24A5461BBC58}"/>
          </ac:spMkLst>
        </pc:spChg>
        <pc:spChg chg="add mod">
          <ac:chgData name="Kishor Kukreja" userId="4b679245-99ba-4686-ad2a-c800244b8fab" providerId="ADAL" clId="{C965E74B-565A-4447-B031-34794DCAFFCE}" dt="2021-12-13T20:16:57.585" v="6762" actId="207"/>
          <ac:spMkLst>
            <pc:docMk/>
            <pc:sldMk cId="578024512" sldId="2147375581"/>
            <ac:spMk id="143" creationId="{34DEF42E-CF44-47ED-9FE2-6EA271E2CAB6}"/>
          </ac:spMkLst>
        </pc:spChg>
        <pc:spChg chg="add mod">
          <ac:chgData name="Kishor Kukreja" userId="4b679245-99ba-4686-ad2a-c800244b8fab" providerId="ADAL" clId="{C965E74B-565A-4447-B031-34794DCAFFCE}" dt="2021-12-13T20:16:57.585" v="6762" actId="207"/>
          <ac:spMkLst>
            <pc:docMk/>
            <pc:sldMk cId="578024512" sldId="2147375581"/>
            <ac:spMk id="144" creationId="{5DE82834-3465-4F6C-8AF0-2A8503DA9EB9}"/>
          </ac:spMkLst>
        </pc:spChg>
        <pc:spChg chg="add mod">
          <ac:chgData name="Kishor Kukreja" userId="4b679245-99ba-4686-ad2a-c800244b8fab" providerId="ADAL" clId="{C965E74B-565A-4447-B031-34794DCAFFCE}" dt="2021-12-13T20:16:57.585" v="6762" actId="207"/>
          <ac:spMkLst>
            <pc:docMk/>
            <pc:sldMk cId="578024512" sldId="2147375581"/>
            <ac:spMk id="145" creationId="{0841C03E-C407-410B-B617-72FF42A42EFD}"/>
          </ac:spMkLst>
        </pc:spChg>
        <pc:spChg chg="add mod">
          <ac:chgData name="Kishor Kukreja" userId="4b679245-99ba-4686-ad2a-c800244b8fab" providerId="ADAL" clId="{C965E74B-565A-4447-B031-34794DCAFFCE}" dt="2021-12-13T20:16:57.585" v="6762" actId="207"/>
          <ac:spMkLst>
            <pc:docMk/>
            <pc:sldMk cId="578024512" sldId="2147375581"/>
            <ac:spMk id="146" creationId="{F48E912A-7444-4D25-AED0-941857C73906}"/>
          </ac:spMkLst>
        </pc:spChg>
        <pc:spChg chg="add mod">
          <ac:chgData name="Kishor Kukreja" userId="4b679245-99ba-4686-ad2a-c800244b8fab" providerId="ADAL" clId="{C965E74B-565A-4447-B031-34794DCAFFCE}" dt="2021-12-13T20:16:57.585" v="6762" actId="207"/>
          <ac:spMkLst>
            <pc:docMk/>
            <pc:sldMk cId="578024512" sldId="2147375581"/>
            <ac:spMk id="147" creationId="{2F8FBF9B-5468-4F15-847A-BC130A43B78D}"/>
          </ac:spMkLst>
        </pc:spChg>
        <pc:spChg chg="add mod">
          <ac:chgData name="Kishor Kukreja" userId="4b679245-99ba-4686-ad2a-c800244b8fab" providerId="ADAL" clId="{C965E74B-565A-4447-B031-34794DCAFFCE}" dt="2021-12-13T20:16:57.585" v="6762" actId="207"/>
          <ac:spMkLst>
            <pc:docMk/>
            <pc:sldMk cId="578024512" sldId="2147375581"/>
            <ac:spMk id="148" creationId="{BF3B2B7C-0D36-4D19-BDCC-0A9D32B0EC82}"/>
          </ac:spMkLst>
        </pc:spChg>
        <pc:spChg chg="add mod">
          <ac:chgData name="Kishor Kukreja" userId="4b679245-99ba-4686-ad2a-c800244b8fab" providerId="ADAL" clId="{C965E74B-565A-4447-B031-34794DCAFFCE}" dt="2021-12-13T20:16:57.585" v="6762" actId="207"/>
          <ac:spMkLst>
            <pc:docMk/>
            <pc:sldMk cId="578024512" sldId="2147375581"/>
            <ac:spMk id="149" creationId="{9BF86F36-DFC9-4674-9475-9C6D61497122}"/>
          </ac:spMkLst>
        </pc:spChg>
        <pc:spChg chg="add mod">
          <ac:chgData name="Kishor Kukreja" userId="4b679245-99ba-4686-ad2a-c800244b8fab" providerId="ADAL" clId="{C965E74B-565A-4447-B031-34794DCAFFCE}" dt="2021-12-13T20:16:57.585" v="6762" actId="207"/>
          <ac:spMkLst>
            <pc:docMk/>
            <pc:sldMk cId="578024512" sldId="2147375581"/>
            <ac:spMk id="150" creationId="{2B5960D5-8562-4C0B-B2C7-3D82BFA32940}"/>
          </ac:spMkLst>
        </pc:spChg>
        <pc:spChg chg="add mod">
          <ac:chgData name="Kishor Kukreja" userId="4b679245-99ba-4686-ad2a-c800244b8fab" providerId="ADAL" clId="{C965E74B-565A-4447-B031-34794DCAFFCE}" dt="2021-12-13T20:16:57.585" v="6762" actId="207"/>
          <ac:spMkLst>
            <pc:docMk/>
            <pc:sldMk cId="578024512" sldId="2147375581"/>
            <ac:spMk id="151" creationId="{4D5119D2-3DB8-47C3-8F84-B8A9C2CDE6F1}"/>
          </ac:spMkLst>
        </pc:spChg>
        <pc:spChg chg="add mod">
          <ac:chgData name="Kishor Kukreja" userId="4b679245-99ba-4686-ad2a-c800244b8fab" providerId="ADAL" clId="{C965E74B-565A-4447-B031-34794DCAFFCE}" dt="2021-12-13T20:16:57.585" v="6762" actId="207"/>
          <ac:spMkLst>
            <pc:docMk/>
            <pc:sldMk cId="578024512" sldId="2147375581"/>
            <ac:spMk id="152" creationId="{07559C08-D40A-47B4-9E74-EAA5211476CB}"/>
          </ac:spMkLst>
        </pc:spChg>
        <pc:spChg chg="add mod">
          <ac:chgData name="Kishor Kukreja" userId="4b679245-99ba-4686-ad2a-c800244b8fab" providerId="ADAL" clId="{C965E74B-565A-4447-B031-34794DCAFFCE}" dt="2021-12-13T20:16:57.585" v="6762" actId="207"/>
          <ac:spMkLst>
            <pc:docMk/>
            <pc:sldMk cId="578024512" sldId="2147375581"/>
            <ac:spMk id="153" creationId="{FD0335D6-855B-418F-92E4-E39B29492927}"/>
          </ac:spMkLst>
        </pc:spChg>
        <pc:spChg chg="add mod">
          <ac:chgData name="Kishor Kukreja" userId="4b679245-99ba-4686-ad2a-c800244b8fab" providerId="ADAL" clId="{C965E74B-565A-4447-B031-34794DCAFFCE}" dt="2021-12-13T20:16:57.585" v="6762" actId="207"/>
          <ac:spMkLst>
            <pc:docMk/>
            <pc:sldMk cId="578024512" sldId="2147375581"/>
            <ac:spMk id="154" creationId="{DA390B26-B03B-4FE1-8583-41098C910F59}"/>
          </ac:spMkLst>
        </pc:spChg>
        <pc:spChg chg="add mod">
          <ac:chgData name="Kishor Kukreja" userId="4b679245-99ba-4686-ad2a-c800244b8fab" providerId="ADAL" clId="{C965E74B-565A-4447-B031-34794DCAFFCE}" dt="2021-12-13T20:16:57.585" v="6762" actId="207"/>
          <ac:spMkLst>
            <pc:docMk/>
            <pc:sldMk cId="578024512" sldId="2147375581"/>
            <ac:spMk id="155" creationId="{C43ED7D2-D615-489D-A136-5B417F50C0DB}"/>
          </ac:spMkLst>
        </pc:spChg>
        <pc:spChg chg="add mod">
          <ac:chgData name="Kishor Kukreja" userId="4b679245-99ba-4686-ad2a-c800244b8fab" providerId="ADAL" clId="{C965E74B-565A-4447-B031-34794DCAFFCE}" dt="2021-12-13T20:16:57.585" v="6762" actId="207"/>
          <ac:spMkLst>
            <pc:docMk/>
            <pc:sldMk cId="578024512" sldId="2147375581"/>
            <ac:spMk id="156" creationId="{E6F77DBF-C98F-4258-B791-E656EB0030F1}"/>
          </ac:spMkLst>
        </pc:spChg>
        <pc:spChg chg="add mod">
          <ac:chgData name="Kishor Kukreja" userId="4b679245-99ba-4686-ad2a-c800244b8fab" providerId="ADAL" clId="{C965E74B-565A-4447-B031-34794DCAFFCE}" dt="2021-12-13T20:16:57.585" v="6762" actId="207"/>
          <ac:spMkLst>
            <pc:docMk/>
            <pc:sldMk cId="578024512" sldId="2147375581"/>
            <ac:spMk id="157" creationId="{ADF8DDFA-FB03-4EA1-B7F8-7F0EC8557311}"/>
          </ac:spMkLst>
        </pc:spChg>
        <pc:spChg chg="add mod">
          <ac:chgData name="Kishor Kukreja" userId="4b679245-99ba-4686-ad2a-c800244b8fab" providerId="ADAL" clId="{C965E74B-565A-4447-B031-34794DCAFFCE}" dt="2021-12-13T20:16:57.585" v="6762" actId="207"/>
          <ac:spMkLst>
            <pc:docMk/>
            <pc:sldMk cId="578024512" sldId="2147375581"/>
            <ac:spMk id="158" creationId="{16260D1B-8C59-4938-820A-6B80EC78A786}"/>
          </ac:spMkLst>
        </pc:spChg>
        <pc:spChg chg="add mod">
          <ac:chgData name="Kishor Kukreja" userId="4b679245-99ba-4686-ad2a-c800244b8fab" providerId="ADAL" clId="{C965E74B-565A-4447-B031-34794DCAFFCE}" dt="2021-12-13T20:16:57.585" v="6762" actId="207"/>
          <ac:spMkLst>
            <pc:docMk/>
            <pc:sldMk cId="578024512" sldId="2147375581"/>
            <ac:spMk id="159" creationId="{640124B9-6D5F-4A7F-BA3E-32E432477579}"/>
          </ac:spMkLst>
        </pc:spChg>
        <pc:spChg chg="add mod">
          <ac:chgData name="Kishor Kukreja" userId="4b679245-99ba-4686-ad2a-c800244b8fab" providerId="ADAL" clId="{C965E74B-565A-4447-B031-34794DCAFFCE}" dt="2021-12-13T20:16:57.585" v="6762" actId="207"/>
          <ac:spMkLst>
            <pc:docMk/>
            <pc:sldMk cId="578024512" sldId="2147375581"/>
            <ac:spMk id="160" creationId="{8CD97617-FDF5-47D8-9963-8C27306F91B8}"/>
          </ac:spMkLst>
        </pc:spChg>
        <pc:spChg chg="add mod">
          <ac:chgData name="Kishor Kukreja" userId="4b679245-99ba-4686-ad2a-c800244b8fab" providerId="ADAL" clId="{C965E74B-565A-4447-B031-34794DCAFFCE}" dt="2021-12-13T20:16:57.585" v="6762" actId="207"/>
          <ac:spMkLst>
            <pc:docMk/>
            <pc:sldMk cId="578024512" sldId="2147375581"/>
            <ac:spMk id="161" creationId="{05F29639-AE0B-4B95-9FEF-2669948CCE2F}"/>
          </ac:spMkLst>
        </pc:spChg>
        <pc:spChg chg="add mod">
          <ac:chgData name="Kishor Kukreja" userId="4b679245-99ba-4686-ad2a-c800244b8fab" providerId="ADAL" clId="{C965E74B-565A-4447-B031-34794DCAFFCE}" dt="2021-12-13T20:16:57.585" v="6762" actId="207"/>
          <ac:spMkLst>
            <pc:docMk/>
            <pc:sldMk cId="578024512" sldId="2147375581"/>
            <ac:spMk id="162" creationId="{EBDA4D92-0BAB-40F2-B354-5C4490122F23}"/>
          </ac:spMkLst>
        </pc:spChg>
        <pc:spChg chg="add mod">
          <ac:chgData name="Kishor Kukreja" userId="4b679245-99ba-4686-ad2a-c800244b8fab" providerId="ADAL" clId="{C965E74B-565A-4447-B031-34794DCAFFCE}" dt="2021-12-13T20:16:57.585" v="6762" actId="207"/>
          <ac:spMkLst>
            <pc:docMk/>
            <pc:sldMk cId="578024512" sldId="2147375581"/>
            <ac:spMk id="163" creationId="{F9916209-E0DA-448D-B505-46275BE40094}"/>
          </ac:spMkLst>
        </pc:spChg>
        <pc:spChg chg="add mod">
          <ac:chgData name="Kishor Kukreja" userId="4b679245-99ba-4686-ad2a-c800244b8fab" providerId="ADAL" clId="{C965E74B-565A-4447-B031-34794DCAFFCE}" dt="2021-12-13T20:16:57.585" v="6762" actId="207"/>
          <ac:spMkLst>
            <pc:docMk/>
            <pc:sldMk cId="578024512" sldId="2147375581"/>
            <ac:spMk id="164" creationId="{9955A64B-5AD9-4CAB-8E5D-D650231A38CD}"/>
          </ac:spMkLst>
        </pc:spChg>
        <pc:spChg chg="add mod">
          <ac:chgData name="Kishor Kukreja" userId="4b679245-99ba-4686-ad2a-c800244b8fab" providerId="ADAL" clId="{C965E74B-565A-4447-B031-34794DCAFFCE}" dt="2021-12-13T20:16:57.585" v="6762" actId="207"/>
          <ac:spMkLst>
            <pc:docMk/>
            <pc:sldMk cId="578024512" sldId="2147375581"/>
            <ac:spMk id="165" creationId="{B0B38684-8730-4214-A41D-269F1C8CC41D}"/>
          </ac:spMkLst>
        </pc:spChg>
        <pc:spChg chg="add mod">
          <ac:chgData name="Kishor Kukreja" userId="4b679245-99ba-4686-ad2a-c800244b8fab" providerId="ADAL" clId="{C965E74B-565A-4447-B031-34794DCAFFCE}" dt="2021-12-13T20:16:57.585" v="6762" actId="207"/>
          <ac:spMkLst>
            <pc:docMk/>
            <pc:sldMk cId="578024512" sldId="2147375581"/>
            <ac:spMk id="166" creationId="{A50C4BFA-DFCD-4A10-9AD7-8E30E2F61CEB}"/>
          </ac:spMkLst>
        </pc:spChg>
        <pc:spChg chg="add mod">
          <ac:chgData name="Kishor Kukreja" userId="4b679245-99ba-4686-ad2a-c800244b8fab" providerId="ADAL" clId="{C965E74B-565A-4447-B031-34794DCAFFCE}" dt="2021-12-13T20:16:57.585" v="6762" actId="207"/>
          <ac:spMkLst>
            <pc:docMk/>
            <pc:sldMk cId="578024512" sldId="2147375581"/>
            <ac:spMk id="167" creationId="{CF4649D6-C102-4762-8503-909434F7E3EE}"/>
          </ac:spMkLst>
        </pc:spChg>
        <pc:spChg chg="add mod">
          <ac:chgData name="Kishor Kukreja" userId="4b679245-99ba-4686-ad2a-c800244b8fab" providerId="ADAL" clId="{C965E74B-565A-4447-B031-34794DCAFFCE}" dt="2021-12-13T20:16:57.585" v="6762" actId="207"/>
          <ac:spMkLst>
            <pc:docMk/>
            <pc:sldMk cId="578024512" sldId="2147375581"/>
            <ac:spMk id="168" creationId="{3B20DB1B-D121-492A-8C94-B8C1C5A182D0}"/>
          </ac:spMkLst>
        </pc:spChg>
        <pc:spChg chg="add mod">
          <ac:chgData name="Kishor Kukreja" userId="4b679245-99ba-4686-ad2a-c800244b8fab" providerId="ADAL" clId="{C965E74B-565A-4447-B031-34794DCAFFCE}" dt="2021-12-13T20:17:32.855" v="6768" actId="207"/>
          <ac:spMkLst>
            <pc:docMk/>
            <pc:sldMk cId="578024512" sldId="2147375581"/>
            <ac:spMk id="169" creationId="{A2D230AA-3768-4D85-9B3C-B1EC05DC6ABA}"/>
          </ac:spMkLst>
        </pc:spChg>
        <pc:spChg chg="add mod">
          <ac:chgData name="Kishor Kukreja" userId="4b679245-99ba-4686-ad2a-c800244b8fab" providerId="ADAL" clId="{C965E74B-565A-4447-B031-34794DCAFFCE}" dt="2021-12-13T20:17:32.855" v="6768" actId="207"/>
          <ac:spMkLst>
            <pc:docMk/>
            <pc:sldMk cId="578024512" sldId="2147375581"/>
            <ac:spMk id="170" creationId="{E5A63A4A-E19B-4EB4-8755-1356AB95F878}"/>
          </ac:spMkLst>
        </pc:spChg>
        <pc:spChg chg="add mod">
          <ac:chgData name="Kishor Kukreja" userId="4b679245-99ba-4686-ad2a-c800244b8fab" providerId="ADAL" clId="{C965E74B-565A-4447-B031-34794DCAFFCE}" dt="2021-12-13T20:17:32.855" v="6768" actId="207"/>
          <ac:spMkLst>
            <pc:docMk/>
            <pc:sldMk cId="578024512" sldId="2147375581"/>
            <ac:spMk id="171" creationId="{789F0B73-C808-48A7-8EF6-4CDA07D7B578}"/>
          </ac:spMkLst>
        </pc:spChg>
        <pc:spChg chg="add mod">
          <ac:chgData name="Kishor Kukreja" userId="4b679245-99ba-4686-ad2a-c800244b8fab" providerId="ADAL" clId="{C965E74B-565A-4447-B031-34794DCAFFCE}" dt="2021-12-13T20:17:32.855" v="6768" actId="207"/>
          <ac:spMkLst>
            <pc:docMk/>
            <pc:sldMk cId="578024512" sldId="2147375581"/>
            <ac:spMk id="172" creationId="{A0AD8507-0AC1-42EB-BE12-7F6CCD20D077}"/>
          </ac:spMkLst>
        </pc:spChg>
        <pc:spChg chg="add mod">
          <ac:chgData name="Kishor Kukreja" userId="4b679245-99ba-4686-ad2a-c800244b8fab" providerId="ADAL" clId="{C965E74B-565A-4447-B031-34794DCAFFCE}" dt="2021-12-13T20:17:32.855" v="6768" actId="207"/>
          <ac:spMkLst>
            <pc:docMk/>
            <pc:sldMk cId="578024512" sldId="2147375581"/>
            <ac:spMk id="173" creationId="{103655AE-C3E0-4AA1-9BFA-1CB77F3C5148}"/>
          </ac:spMkLst>
        </pc:spChg>
        <pc:spChg chg="add mod">
          <ac:chgData name="Kishor Kukreja" userId="4b679245-99ba-4686-ad2a-c800244b8fab" providerId="ADAL" clId="{C965E74B-565A-4447-B031-34794DCAFFCE}" dt="2021-12-13T20:17:32.855" v="6768" actId="207"/>
          <ac:spMkLst>
            <pc:docMk/>
            <pc:sldMk cId="578024512" sldId="2147375581"/>
            <ac:spMk id="174" creationId="{C4CDBD37-706B-49A7-BE1C-DB6B9E39D760}"/>
          </ac:spMkLst>
        </pc:spChg>
        <pc:spChg chg="add mod">
          <ac:chgData name="Kishor Kukreja" userId="4b679245-99ba-4686-ad2a-c800244b8fab" providerId="ADAL" clId="{C965E74B-565A-4447-B031-34794DCAFFCE}" dt="2021-12-13T20:17:32.855" v="6768" actId="207"/>
          <ac:spMkLst>
            <pc:docMk/>
            <pc:sldMk cId="578024512" sldId="2147375581"/>
            <ac:spMk id="175" creationId="{15FC03A8-293F-423E-B4CB-74EA384C0AF0}"/>
          </ac:spMkLst>
        </pc:spChg>
        <pc:spChg chg="add mod">
          <ac:chgData name="Kishor Kukreja" userId="4b679245-99ba-4686-ad2a-c800244b8fab" providerId="ADAL" clId="{C965E74B-565A-4447-B031-34794DCAFFCE}" dt="2021-12-13T20:17:32.855" v="6768" actId="207"/>
          <ac:spMkLst>
            <pc:docMk/>
            <pc:sldMk cId="578024512" sldId="2147375581"/>
            <ac:spMk id="176" creationId="{D0631C8D-5FD5-4562-9D92-970913F39B7E}"/>
          </ac:spMkLst>
        </pc:spChg>
        <pc:spChg chg="add mod">
          <ac:chgData name="Kishor Kukreja" userId="4b679245-99ba-4686-ad2a-c800244b8fab" providerId="ADAL" clId="{C965E74B-565A-4447-B031-34794DCAFFCE}" dt="2021-12-13T20:17:32.855" v="6768" actId="207"/>
          <ac:spMkLst>
            <pc:docMk/>
            <pc:sldMk cId="578024512" sldId="2147375581"/>
            <ac:spMk id="177" creationId="{A968DE79-31D4-404F-951D-71E47A4C560E}"/>
          </ac:spMkLst>
        </pc:spChg>
        <pc:spChg chg="add mod">
          <ac:chgData name="Kishor Kukreja" userId="4b679245-99ba-4686-ad2a-c800244b8fab" providerId="ADAL" clId="{C965E74B-565A-4447-B031-34794DCAFFCE}" dt="2021-12-13T20:17:32.855" v="6768" actId="207"/>
          <ac:spMkLst>
            <pc:docMk/>
            <pc:sldMk cId="578024512" sldId="2147375581"/>
            <ac:spMk id="178" creationId="{EF07B8C1-94C4-49F9-AEB3-C2448C8CAA49}"/>
          </ac:spMkLst>
        </pc:spChg>
        <pc:spChg chg="add mod">
          <ac:chgData name="Kishor Kukreja" userId="4b679245-99ba-4686-ad2a-c800244b8fab" providerId="ADAL" clId="{C965E74B-565A-4447-B031-34794DCAFFCE}" dt="2021-12-13T20:17:32.855" v="6768" actId="207"/>
          <ac:spMkLst>
            <pc:docMk/>
            <pc:sldMk cId="578024512" sldId="2147375581"/>
            <ac:spMk id="179" creationId="{21E14CBA-A7CD-478B-8D63-DDAE3D2F2DB0}"/>
          </ac:spMkLst>
        </pc:spChg>
        <pc:spChg chg="add mod">
          <ac:chgData name="Kishor Kukreja" userId="4b679245-99ba-4686-ad2a-c800244b8fab" providerId="ADAL" clId="{C965E74B-565A-4447-B031-34794DCAFFCE}" dt="2021-12-13T20:17:32.855" v="6768" actId="207"/>
          <ac:spMkLst>
            <pc:docMk/>
            <pc:sldMk cId="578024512" sldId="2147375581"/>
            <ac:spMk id="180" creationId="{65001462-296B-424B-8719-618FC25158D8}"/>
          </ac:spMkLst>
        </pc:spChg>
        <pc:spChg chg="add mod">
          <ac:chgData name="Kishor Kukreja" userId="4b679245-99ba-4686-ad2a-c800244b8fab" providerId="ADAL" clId="{C965E74B-565A-4447-B031-34794DCAFFCE}" dt="2021-12-13T20:17:32.855" v="6768" actId="207"/>
          <ac:spMkLst>
            <pc:docMk/>
            <pc:sldMk cId="578024512" sldId="2147375581"/>
            <ac:spMk id="181" creationId="{55D4F1EF-13C6-4B19-9A54-362D166E848C}"/>
          </ac:spMkLst>
        </pc:spChg>
        <pc:spChg chg="add mod">
          <ac:chgData name="Kishor Kukreja" userId="4b679245-99ba-4686-ad2a-c800244b8fab" providerId="ADAL" clId="{C965E74B-565A-4447-B031-34794DCAFFCE}" dt="2021-12-13T20:17:32.855" v="6768" actId="207"/>
          <ac:spMkLst>
            <pc:docMk/>
            <pc:sldMk cId="578024512" sldId="2147375581"/>
            <ac:spMk id="182" creationId="{7C0FE322-3A2F-45D9-92A8-BC8082F442F5}"/>
          </ac:spMkLst>
        </pc:spChg>
        <pc:spChg chg="add mod">
          <ac:chgData name="Kishor Kukreja" userId="4b679245-99ba-4686-ad2a-c800244b8fab" providerId="ADAL" clId="{C965E74B-565A-4447-B031-34794DCAFFCE}" dt="2021-12-13T20:17:32.855" v="6768" actId="207"/>
          <ac:spMkLst>
            <pc:docMk/>
            <pc:sldMk cId="578024512" sldId="2147375581"/>
            <ac:spMk id="183" creationId="{03D8F955-E563-4560-822D-F62478E68807}"/>
          </ac:spMkLst>
        </pc:spChg>
        <pc:spChg chg="add mod">
          <ac:chgData name="Kishor Kukreja" userId="4b679245-99ba-4686-ad2a-c800244b8fab" providerId="ADAL" clId="{C965E74B-565A-4447-B031-34794DCAFFCE}" dt="2021-12-13T20:17:32.855" v="6768" actId="207"/>
          <ac:spMkLst>
            <pc:docMk/>
            <pc:sldMk cId="578024512" sldId="2147375581"/>
            <ac:spMk id="184" creationId="{FB592939-A31A-4761-A217-09AB3221EF7D}"/>
          </ac:spMkLst>
        </pc:spChg>
        <pc:spChg chg="add mod">
          <ac:chgData name="Kishor Kukreja" userId="4b679245-99ba-4686-ad2a-c800244b8fab" providerId="ADAL" clId="{C965E74B-565A-4447-B031-34794DCAFFCE}" dt="2021-12-13T20:17:32.855" v="6768" actId="207"/>
          <ac:spMkLst>
            <pc:docMk/>
            <pc:sldMk cId="578024512" sldId="2147375581"/>
            <ac:spMk id="185" creationId="{6D249A8A-F1D7-4929-A298-38B69266AD17}"/>
          </ac:spMkLst>
        </pc:spChg>
        <pc:spChg chg="add mod">
          <ac:chgData name="Kishor Kukreja" userId="4b679245-99ba-4686-ad2a-c800244b8fab" providerId="ADAL" clId="{C965E74B-565A-4447-B031-34794DCAFFCE}" dt="2021-12-13T20:17:32.855" v="6768" actId="207"/>
          <ac:spMkLst>
            <pc:docMk/>
            <pc:sldMk cId="578024512" sldId="2147375581"/>
            <ac:spMk id="186" creationId="{340D8EFC-1B24-4332-8D15-2B5C5EFBBBE7}"/>
          </ac:spMkLst>
        </pc:spChg>
        <pc:spChg chg="add mod">
          <ac:chgData name="Kishor Kukreja" userId="4b679245-99ba-4686-ad2a-c800244b8fab" providerId="ADAL" clId="{C965E74B-565A-4447-B031-34794DCAFFCE}" dt="2021-12-13T20:17:32.855" v="6768" actId="207"/>
          <ac:spMkLst>
            <pc:docMk/>
            <pc:sldMk cId="578024512" sldId="2147375581"/>
            <ac:spMk id="187" creationId="{C181F923-EDE4-45E3-A010-2597E0A9AD34}"/>
          </ac:spMkLst>
        </pc:spChg>
        <pc:spChg chg="add mod">
          <ac:chgData name="Kishor Kukreja" userId="4b679245-99ba-4686-ad2a-c800244b8fab" providerId="ADAL" clId="{C965E74B-565A-4447-B031-34794DCAFFCE}" dt="2021-12-13T20:17:32.855" v="6768" actId="207"/>
          <ac:spMkLst>
            <pc:docMk/>
            <pc:sldMk cId="578024512" sldId="2147375581"/>
            <ac:spMk id="188" creationId="{9EB67F25-1473-43A1-83A0-D544086F8229}"/>
          </ac:spMkLst>
        </pc:spChg>
        <pc:spChg chg="add mod">
          <ac:chgData name="Kishor Kukreja" userId="4b679245-99ba-4686-ad2a-c800244b8fab" providerId="ADAL" clId="{C965E74B-565A-4447-B031-34794DCAFFCE}" dt="2021-12-13T20:17:32.855" v="6768" actId="207"/>
          <ac:spMkLst>
            <pc:docMk/>
            <pc:sldMk cId="578024512" sldId="2147375581"/>
            <ac:spMk id="189" creationId="{31A39419-9E55-4822-A836-18BAB0C63A56}"/>
          </ac:spMkLst>
        </pc:spChg>
        <pc:spChg chg="add mod">
          <ac:chgData name="Kishor Kukreja" userId="4b679245-99ba-4686-ad2a-c800244b8fab" providerId="ADAL" clId="{C965E74B-565A-4447-B031-34794DCAFFCE}" dt="2021-12-13T20:17:32.855" v="6768" actId="207"/>
          <ac:spMkLst>
            <pc:docMk/>
            <pc:sldMk cId="578024512" sldId="2147375581"/>
            <ac:spMk id="190" creationId="{249476FA-198C-4A2F-839B-7899E507D2EF}"/>
          </ac:spMkLst>
        </pc:spChg>
        <pc:spChg chg="add mod">
          <ac:chgData name="Kishor Kukreja" userId="4b679245-99ba-4686-ad2a-c800244b8fab" providerId="ADAL" clId="{C965E74B-565A-4447-B031-34794DCAFFCE}" dt="2021-12-13T20:17:29.016" v="6767" actId="207"/>
          <ac:spMkLst>
            <pc:docMk/>
            <pc:sldMk cId="578024512" sldId="2147375581"/>
            <ac:spMk id="191" creationId="{758AD0D5-196F-41E3-A9DC-3B4A6E6EB8A8}"/>
          </ac:spMkLst>
        </pc:spChg>
        <pc:spChg chg="add mod">
          <ac:chgData name="Kishor Kukreja" userId="4b679245-99ba-4686-ad2a-c800244b8fab" providerId="ADAL" clId="{C965E74B-565A-4447-B031-34794DCAFFCE}" dt="2021-12-13T20:17:29.016" v="6767" actId="207"/>
          <ac:spMkLst>
            <pc:docMk/>
            <pc:sldMk cId="578024512" sldId="2147375581"/>
            <ac:spMk id="192" creationId="{6304D03C-D4CC-4A6F-8095-D358BEBFFD18}"/>
          </ac:spMkLst>
        </pc:spChg>
        <pc:spChg chg="add mod">
          <ac:chgData name="Kishor Kukreja" userId="4b679245-99ba-4686-ad2a-c800244b8fab" providerId="ADAL" clId="{C965E74B-565A-4447-B031-34794DCAFFCE}" dt="2021-12-13T20:17:29.016" v="6767" actId="207"/>
          <ac:spMkLst>
            <pc:docMk/>
            <pc:sldMk cId="578024512" sldId="2147375581"/>
            <ac:spMk id="193" creationId="{B4631145-9C14-4557-B3D7-190D7E82F3D8}"/>
          </ac:spMkLst>
        </pc:spChg>
        <pc:spChg chg="add mod">
          <ac:chgData name="Kishor Kukreja" userId="4b679245-99ba-4686-ad2a-c800244b8fab" providerId="ADAL" clId="{C965E74B-565A-4447-B031-34794DCAFFCE}" dt="2021-12-13T20:17:29.016" v="6767" actId="207"/>
          <ac:spMkLst>
            <pc:docMk/>
            <pc:sldMk cId="578024512" sldId="2147375581"/>
            <ac:spMk id="194" creationId="{63AA7823-2539-4A53-A7A2-D27BEA027349}"/>
          </ac:spMkLst>
        </pc:spChg>
        <pc:spChg chg="add mod">
          <ac:chgData name="Kishor Kukreja" userId="4b679245-99ba-4686-ad2a-c800244b8fab" providerId="ADAL" clId="{C965E74B-565A-4447-B031-34794DCAFFCE}" dt="2021-12-13T20:17:29.016" v="6767" actId="207"/>
          <ac:spMkLst>
            <pc:docMk/>
            <pc:sldMk cId="578024512" sldId="2147375581"/>
            <ac:spMk id="195" creationId="{258C9BEA-89FA-46C0-8877-E8F229A6C84E}"/>
          </ac:spMkLst>
        </pc:spChg>
        <pc:spChg chg="add mod">
          <ac:chgData name="Kishor Kukreja" userId="4b679245-99ba-4686-ad2a-c800244b8fab" providerId="ADAL" clId="{C965E74B-565A-4447-B031-34794DCAFFCE}" dt="2021-12-13T20:17:29.016" v="6767" actId="207"/>
          <ac:spMkLst>
            <pc:docMk/>
            <pc:sldMk cId="578024512" sldId="2147375581"/>
            <ac:spMk id="196" creationId="{6DFC3912-06CF-4D68-85FA-FF6BF75C6040}"/>
          </ac:spMkLst>
        </pc:spChg>
        <pc:spChg chg="add mod">
          <ac:chgData name="Kishor Kukreja" userId="4b679245-99ba-4686-ad2a-c800244b8fab" providerId="ADAL" clId="{C965E74B-565A-4447-B031-34794DCAFFCE}" dt="2021-12-13T20:17:29.016" v="6767" actId="207"/>
          <ac:spMkLst>
            <pc:docMk/>
            <pc:sldMk cId="578024512" sldId="2147375581"/>
            <ac:spMk id="197" creationId="{BF08C4D3-F1B5-4ED0-A395-99EC491B66A9}"/>
          </ac:spMkLst>
        </pc:spChg>
        <pc:spChg chg="add mod">
          <ac:chgData name="Kishor Kukreja" userId="4b679245-99ba-4686-ad2a-c800244b8fab" providerId="ADAL" clId="{C965E74B-565A-4447-B031-34794DCAFFCE}" dt="2021-12-13T20:17:29.016" v="6767" actId="207"/>
          <ac:spMkLst>
            <pc:docMk/>
            <pc:sldMk cId="578024512" sldId="2147375581"/>
            <ac:spMk id="198" creationId="{1B66C898-23D8-457E-9808-967C3BFBCB34}"/>
          </ac:spMkLst>
        </pc:spChg>
        <pc:spChg chg="add mod">
          <ac:chgData name="Kishor Kukreja" userId="4b679245-99ba-4686-ad2a-c800244b8fab" providerId="ADAL" clId="{C965E74B-565A-4447-B031-34794DCAFFCE}" dt="2021-12-13T20:17:29.016" v="6767" actId="207"/>
          <ac:spMkLst>
            <pc:docMk/>
            <pc:sldMk cId="578024512" sldId="2147375581"/>
            <ac:spMk id="199" creationId="{8210C3B9-2BDE-4FAA-82EB-D2E2B48B2013}"/>
          </ac:spMkLst>
        </pc:spChg>
        <pc:spChg chg="add mod">
          <ac:chgData name="Kishor Kukreja" userId="4b679245-99ba-4686-ad2a-c800244b8fab" providerId="ADAL" clId="{C965E74B-565A-4447-B031-34794DCAFFCE}" dt="2021-12-13T20:17:29.016" v="6767" actId="207"/>
          <ac:spMkLst>
            <pc:docMk/>
            <pc:sldMk cId="578024512" sldId="2147375581"/>
            <ac:spMk id="200" creationId="{D888A8D6-1363-4FCE-BA34-E2D58E981F6D}"/>
          </ac:spMkLst>
        </pc:spChg>
        <pc:spChg chg="add mod">
          <ac:chgData name="Kishor Kukreja" userId="4b679245-99ba-4686-ad2a-c800244b8fab" providerId="ADAL" clId="{C965E74B-565A-4447-B031-34794DCAFFCE}" dt="2021-12-13T20:17:29.016" v="6767" actId="207"/>
          <ac:spMkLst>
            <pc:docMk/>
            <pc:sldMk cId="578024512" sldId="2147375581"/>
            <ac:spMk id="201" creationId="{012E8C65-1B6E-4C9A-A5B4-4EEFFE5C706E}"/>
          </ac:spMkLst>
        </pc:spChg>
        <pc:spChg chg="add mod">
          <ac:chgData name="Kishor Kukreja" userId="4b679245-99ba-4686-ad2a-c800244b8fab" providerId="ADAL" clId="{C965E74B-565A-4447-B031-34794DCAFFCE}" dt="2021-12-13T20:17:29.016" v="6767" actId="207"/>
          <ac:spMkLst>
            <pc:docMk/>
            <pc:sldMk cId="578024512" sldId="2147375581"/>
            <ac:spMk id="202" creationId="{5DDF0A37-0C99-4B94-8837-B95C98099EE8}"/>
          </ac:spMkLst>
        </pc:spChg>
        <pc:spChg chg="add mod">
          <ac:chgData name="Kishor Kukreja" userId="4b679245-99ba-4686-ad2a-c800244b8fab" providerId="ADAL" clId="{C965E74B-565A-4447-B031-34794DCAFFCE}" dt="2021-12-13T20:17:29.016" v="6767" actId="207"/>
          <ac:spMkLst>
            <pc:docMk/>
            <pc:sldMk cId="578024512" sldId="2147375581"/>
            <ac:spMk id="203" creationId="{41579DEE-5AE3-4978-8C93-56D23C994645}"/>
          </ac:spMkLst>
        </pc:spChg>
        <pc:spChg chg="add mod">
          <ac:chgData name="Kishor Kukreja" userId="4b679245-99ba-4686-ad2a-c800244b8fab" providerId="ADAL" clId="{C965E74B-565A-4447-B031-34794DCAFFCE}" dt="2021-12-13T20:17:29.016" v="6767" actId="207"/>
          <ac:spMkLst>
            <pc:docMk/>
            <pc:sldMk cId="578024512" sldId="2147375581"/>
            <ac:spMk id="204" creationId="{F5934586-9BEF-46B2-8CE0-0F8F2902BA5C}"/>
          </ac:spMkLst>
        </pc:spChg>
        <pc:spChg chg="add mod">
          <ac:chgData name="Kishor Kukreja" userId="4b679245-99ba-4686-ad2a-c800244b8fab" providerId="ADAL" clId="{C965E74B-565A-4447-B031-34794DCAFFCE}" dt="2021-12-13T20:17:29.016" v="6767" actId="207"/>
          <ac:spMkLst>
            <pc:docMk/>
            <pc:sldMk cId="578024512" sldId="2147375581"/>
            <ac:spMk id="205" creationId="{3F38101B-38FC-4BD1-B87D-AE42B5F81F07}"/>
          </ac:spMkLst>
        </pc:spChg>
        <pc:spChg chg="add mod">
          <ac:chgData name="Kishor Kukreja" userId="4b679245-99ba-4686-ad2a-c800244b8fab" providerId="ADAL" clId="{C965E74B-565A-4447-B031-34794DCAFFCE}" dt="2021-12-13T20:17:29.016" v="6767" actId="207"/>
          <ac:spMkLst>
            <pc:docMk/>
            <pc:sldMk cId="578024512" sldId="2147375581"/>
            <ac:spMk id="206" creationId="{48074584-3263-43CF-B097-95ABBCE9B888}"/>
          </ac:spMkLst>
        </pc:spChg>
        <pc:spChg chg="add mod">
          <ac:chgData name="Kishor Kukreja" userId="4b679245-99ba-4686-ad2a-c800244b8fab" providerId="ADAL" clId="{C965E74B-565A-4447-B031-34794DCAFFCE}" dt="2021-12-13T20:17:29.016" v="6767" actId="207"/>
          <ac:spMkLst>
            <pc:docMk/>
            <pc:sldMk cId="578024512" sldId="2147375581"/>
            <ac:spMk id="207" creationId="{E43E9EC2-F0D3-4BA2-A896-A064BFBA051B}"/>
          </ac:spMkLst>
        </pc:spChg>
        <pc:spChg chg="add mod">
          <ac:chgData name="Kishor Kukreja" userId="4b679245-99ba-4686-ad2a-c800244b8fab" providerId="ADAL" clId="{C965E74B-565A-4447-B031-34794DCAFFCE}" dt="2021-12-13T20:17:29.016" v="6767" actId="207"/>
          <ac:spMkLst>
            <pc:docMk/>
            <pc:sldMk cId="578024512" sldId="2147375581"/>
            <ac:spMk id="208" creationId="{1E345A4B-3778-42B8-B9EC-2431C6F862A4}"/>
          </ac:spMkLst>
        </pc:spChg>
        <pc:spChg chg="add mod">
          <ac:chgData name="Kishor Kukreja" userId="4b679245-99ba-4686-ad2a-c800244b8fab" providerId="ADAL" clId="{C965E74B-565A-4447-B031-34794DCAFFCE}" dt="2021-12-13T20:17:29.016" v="6767" actId="207"/>
          <ac:spMkLst>
            <pc:docMk/>
            <pc:sldMk cId="578024512" sldId="2147375581"/>
            <ac:spMk id="209" creationId="{58F36435-663A-4817-87DD-47853F40DFE1}"/>
          </ac:spMkLst>
        </pc:spChg>
        <pc:spChg chg="add mod">
          <ac:chgData name="Kishor Kukreja" userId="4b679245-99ba-4686-ad2a-c800244b8fab" providerId="ADAL" clId="{C965E74B-565A-4447-B031-34794DCAFFCE}" dt="2021-12-13T20:17:29.016" v="6767" actId="207"/>
          <ac:spMkLst>
            <pc:docMk/>
            <pc:sldMk cId="578024512" sldId="2147375581"/>
            <ac:spMk id="210" creationId="{5601D6D3-9C11-488F-8274-911A748FEF73}"/>
          </ac:spMkLst>
        </pc:spChg>
        <pc:spChg chg="add mod">
          <ac:chgData name="Kishor Kukreja" userId="4b679245-99ba-4686-ad2a-c800244b8fab" providerId="ADAL" clId="{C965E74B-565A-4447-B031-34794DCAFFCE}" dt="2021-12-13T20:17:29.016" v="6767" actId="207"/>
          <ac:spMkLst>
            <pc:docMk/>
            <pc:sldMk cId="578024512" sldId="2147375581"/>
            <ac:spMk id="211" creationId="{7340EDCC-2D8C-428D-8764-5E146B2A5A9B}"/>
          </ac:spMkLst>
        </pc:spChg>
        <pc:spChg chg="add mod">
          <ac:chgData name="Kishor Kukreja" userId="4b679245-99ba-4686-ad2a-c800244b8fab" providerId="ADAL" clId="{C965E74B-565A-4447-B031-34794DCAFFCE}" dt="2021-12-13T20:17:29.016" v="6767" actId="207"/>
          <ac:spMkLst>
            <pc:docMk/>
            <pc:sldMk cId="578024512" sldId="2147375581"/>
            <ac:spMk id="212" creationId="{573583B3-BE8D-42ED-9453-9A557FE64EA2}"/>
          </ac:spMkLst>
        </pc:spChg>
        <pc:spChg chg="add mod">
          <ac:chgData name="Kishor Kukreja" userId="4b679245-99ba-4686-ad2a-c800244b8fab" providerId="ADAL" clId="{C965E74B-565A-4447-B031-34794DCAFFCE}" dt="2021-12-13T20:17:29.016" v="6767" actId="207"/>
          <ac:spMkLst>
            <pc:docMk/>
            <pc:sldMk cId="578024512" sldId="2147375581"/>
            <ac:spMk id="213" creationId="{435202AC-3C77-4A83-BE49-E4BA297DEBB7}"/>
          </ac:spMkLst>
        </pc:spChg>
        <pc:spChg chg="add mod">
          <ac:chgData name="Kishor Kukreja" userId="4b679245-99ba-4686-ad2a-c800244b8fab" providerId="ADAL" clId="{C965E74B-565A-4447-B031-34794DCAFFCE}" dt="2021-12-13T20:17:29.016" v="6767" actId="207"/>
          <ac:spMkLst>
            <pc:docMk/>
            <pc:sldMk cId="578024512" sldId="2147375581"/>
            <ac:spMk id="214" creationId="{CA3D57C4-59BF-49DC-981D-80E913340C98}"/>
          </ac:spMkLst>
        </pc:spChg>
        <pc:picChg chg="del">
          <ac:chgData name="Kishor Kukreja" userId="4b679245-99ba-4686-ad2a-c800244b8fab" providerId="ADAL" clId="{C965E74B-565A-4447-B031-34794DCAFFCE}" dt="2021-12-13T19:34:26.359" v="6083" actId="478"/>
          <ac:picMkLst>
            <pc:docMk/>
            <pc:sldMk cId="578024512" sldId="2147375581"/>
            <ac:picMk id="70" creationId="{15E79A93-3D1C-43E4-B79F-E0D3D529A0EC}"/>
          </ac:picMkLst>
        </pc:picChg>
        <pc:picChg chg="add mod">
          <ac:chgData name="Kishor Kukreja" userId="4b679245-99ba-4686-ad2a-c800244b8fab" providerId="ADAL" clId="{C965E74B-565A-4447-B031-34794DCAFFCE}" dt="2021-12-13T19:37:53.365" v="6215"/>
          <ac:picMkLst>
            <pc:docMk/>
            <pc:sldMk cId="578024512" sldId="2147375581"/>
            <ac:picMk id="215" creationId="{9ECB0116-83F5-4BC5-A336-D098212ABFC5}"/>
          </ac:picMkLst>
        </pc:picChg>
        <pc:picChg chg="del">
          <ac:chgData name="Kishor Kukreja" userId="4b679245-99ba-4686-ad2a-c800244b8fab" providerId="ADAL" clId="{C965E74B-565A-4447-B031-34794DCAFFCE}" dt="2021-12-13T19:34:27.791" v="6084" actId="478"/>
          <ac:picMkLst>
            <pc:docMk/>
            <pc:sldMk cId="578024512" sldId="2147375581"/>
            <ac:picMk id="3076" creationId="{D4F25A0B-C891-4147-9F20-1D3420023134}"/>
          </ac:picMkLst>
        </pc:picChg>
        <pc:cxnChg chg="mod">
          <ac:chgData name="Kishor Kukreja" userId="4b679245-99ba-4686-ad2a-c800244b8fab" providerId="ADAL" clId="{C965E74B-565A-4447-B031-34794DCAFFCE}" dt="2021-12-13T19:36:33.274" v="6107" actId="13822"/>
          <ac:cxnSpMkLst>
            <pc:docMk/>
            <pc:sldMk cId="578024512" sldId="2147375581"/>
            <ac:cxnSpMk id="6" creationId="{323CF786-878E-4B6A-921D-C357CDDAA9C5}"/>
          </ac:cxnSpMkLst>
        </pc:cxnChg>
        <pc:cxnChg chg="mod">
          <ac:chgData name="Kishor Kukreja" userId="4b679245-99ba-4686-ad2a-c800244b8fab" providerId="ADAL" clId="{C965E74B-565A-4447-B031-34794DCAFFCE}" dt="2021-12-13T19:36:33.274" v="6107" actId="13822"/>
          <ac:cxnSpMkLst>
            <pc:docMk/>
            <pc:sldMk cId="578024512" sldId="2147375581"/>
            <ac:cxnSpMk id="77" creationId="{9D502F8E-0264-4952-8CC8-AD2FB9AB773D}"/>
          </ac:cxnSpMkLst>
        </pc:cxnChg>
      </pc:sldChg>
      <pc:sldChg chg="addSp delSp modSp add mod modClrScheme addCm modCm chgLayout">
        <pc:chgData name="Kishor Kukreja" userId="4b679245-99ba-4686-ad2a-c800244b8fab" providerId="ADAL" clId="{C965E74B-565A-4447-B031-34794DCAFFCE}" dt="2021-12-13T21:24:33.838" v="8532" actId="20577"/>
        <pc:sldMkLst>
          <pc:docMk/>
          <pc:sldMk cId="4195267601" sldId="2147375582"/>
        </pc:sldMkLst>
        <pc:spChg chg="mod ord">
          <ac:chgData name="Kishor Kukreja" userId="4b679245-99ba-4686-ad2a-c800244b8fab" providerId="ADAL" clId="{C965E74B-565A-4447-B031-34794DCAFFCE}" dt="2021-12-13T21:24:33.838" v="8532" actId="20577"/>
          <ac:spMkLst>
            <pc:docMk/>
            <pc:sldMk cId="4195267601" sldId="2147375582"/>
            <ac:spMk id="4" creationId="{A27CACEB-EFDC-4E71-B9FA-08C944B455EC}"/>
          </ac:spMkLst>
        </pc:spChg>
        <pc:spChg chg="del mod ord">
          <ac:chgData name="Kishor Kukreja" userId="4b679245-99ba-4686-ad2a-c800244b8fab" providerId="ADAL" clId="{C965E74B-565A-4447-B031-34794DCAFFCE}" dt="2021-12-13T18:37:58.154" v="3865" actId="478"/>
          <ac:spMkLst>
            <pc:docMk/>
            <pc:sldMk cId="4195267601" sldId="2147375582"/>
            <ac:spMk id="6" creationId="{E53F94A5-AE46-4D80-8B17-322199D46E08}"/>
          </ac:spMkLst>
        </pc:spChg>
        <pc:spChg chg="del">
          <ac:chgData name="Kishor Kukreja" userId="4b679245-99ba-4686-ad2a-c800244b8fab" providerId="ADAL" clId="{C965E74B-565A-4447-B031-34794DCAFFCE}" dt="2021-12-13T18:37:56.057" v="3864" actId="478"/>
          <ac:spMkLst>
            <pc:docMk/>
            <pc:sldMk cId="4195267601" sldId="2147375582"/>
            <ac:spMk id="13" creationId="{B2DE0ABF-EFFE-4955-9F73-DEEC789C4CD5}"/>
          </ac:spMkLst>
        </pc:spChg>
        <pc:spChg chg="del">
          <ac:chgData name="Kishor Kukreja" userId="4b679245-99ba-4686-ad2a-c800244b8fab" providerId="ADAL" clId="{C965E74B-565A-4447-B031-34794DCAFFCE}" dt="2021-12-13T18:37:56.057" v="3864" actId="478"/>
          <ac:spMkLst>
            <pc:docMk/>
            <pc:sldMk cId="4195267601" sldId="2147375582"/>
            <ac:spMk id="15" creationId="{A3AAA11E-189C-4733-A16A-DB08CD52FCDF}"/>
          </ac:spMkLst>
        </pc:spChg>
        <pc:spChg chg="add del mod">
          <ac:chgData name="Kishor Kukreja" userId="4b679245-99ba-4686-ad2a-c800244b8fab" providerId="ADAL" clId="{C965E74B-565A-4447-B031-34794DCAFFCE}" dt="2021-12-13T18:38:53.990" v="3911" actId="478"/>
          <ac:spMkLst>
            <pc:docMk/>
            <pc:sldMk cId="4195267601" sldId="2147375582"/>
            <ac:spMk id="18" creationId="{FB6F0A9E-1FBB-4D7E-AF6E-E488E4BCF348}"/>
          </ac:spMkLst>
        </pc:spChg>
        <pc:spChg chg="del">
          <ac:chgData name="Kishor Kukreja" userId="4b679245-99ba-4686-ad2a-c800244b8fab" providerId="ADAL" clId="{C965E74B-565A-4447-B031-34794DCAFFCE}" dt="2021-12-13T18:37:56.057" v="3864" actId="478"/>
          <ac:spMkLst>
            <pc:docMk/>
            <pc:sldMk cId="4195267601" sldId="2147375582"/>
            <ac:spMk id="19" creationId="{89F1B9B1-43C7-4535-BF7A-1DF8DE327EA6}"/>
          </ac:spMkLst>
        </pc:spChg>
        <pc:spChg chg="del">
          <ac:chgData name="Kishor Kukreja" userId="4b679245-99ba-4686-ad2a-c800244b8fab" providerId="ADAL" clId="{C965E74B-565A-4447-B031-34794DCAFFCE}" dt="2021-12-13T18:37:56.057" v="3864" actId="478"/>
          <ac:spMkLst>
            <pc:docMk/>
            <pc:sldMk cId="4195267601" sldId="2147375582"/>
            <ac:spMk id="20" creationId="{284D1848-FDDF-425F-B69D-04C26D3559F4}"/>
          </ac:spMkLst>
        </pc:spChg>
        <pc:spChg chg="add mod">
          <ac:chgData name="Kishor Kukreja" userId="4b679245-99ba-4686-ad2a-c800244b8fab" providerId="ADAL" clId="{C965E74B-565A-4447-B031-34794DCAFFCE}" dt="2021-12-13T18:45:42.144" v="4500" actId="14100"/>
          <ac:spMkLst>
            <pc:docMk/>
            <pc:sldMk cId="4195267601" sldId="2147375582"/>
            <ac:spMk id="21" creationId="{E40D3A11-A456-48EE-A7D8-4CD2480A0F66}"/>
          </ac:spMkLst>
        </pc:spChg>
        <pc:spChg chg="add del mod">
          <ac:chgData name="Kishor Kukreja" userId="4b679245-99ba-4686-ad2a-c800244b8fab" providerId="ADAL" clId="{C965E74B-565A-4447-B031-34794DCAFFCE}" dt="2021-12-13T18:46:05.516" v="4503" actId="478"/>
          <ac:spMkLst>
            <pc:docMk/>
            <pc:sldMk cId="4195267601" sldId="2147375582"/>
            <ac:spMk id="22" creationId="{CAECBC0D-C0A5-4EB4-96F2-4C5131378F25}"/>
          </ac:spMkLst>
        </pc:spChg>
        <pc:spChg chg="del">
          <ac:chgData name="Kishor Kukreja" userId="4b679245-99ba-4686-ad2a-c800244b8fab" providerId="ADAL" clId="{C965E74B-565A-4447-B031-34794DCAFFCE}" dt="2021-12-13T18:37:56.057" v="3864" actId="478"/>
          <ac:spMkLst>
            <pc:docMk/>
            <pc:sldMk cId="4195267601" sldId="2147375582"/>
            <ac:spMk id="23" creationId="{7883ADC6-D10D-4A57-B837-7F08232F2905}"/>
          </ac:spMkLst>
        </pc:spChg>
        <pc:spChg chg="del">
          <ac:chgData name="Kishor Kukreja" userId="4b679245-99ba-4686-ad2a-c800244b8fab" providerId="ADAL" clId="{C965E74B-565A-4447-B031-34794DCAFFCE}" dt="2021-12-13T18:37:56.057" v="3864" actId="478"/>
          <ac:spMkLst>
            <pc:docMk/>
            <pc:sldMk cId="4195267601" sldId="2147375582"/>
            <ac:spMk id="24" creationId="{E459633D-8B17-416F-AE71-4DC5499387CF}"/>
          </ac:spMkLst>
        </pc:spChg>
        <pc:spChg chg="del">
          <ac:chgData name="Kishor Kukreja" userId="4b679245-99ba-4686-ad2a-c800244b8fab" providerId="ADAL" clId="{C965E74B-565A-4447-B031-34794DCAFFCE}" dt="2021-12-13T18:37:56.057" v="3864" actId="478"/>
          <ac:spMkLst>
            <pc:docMk/>
            <pc:sldMk cId="4195267601" sldId="2147375582"/>
            <ac:spMk id="26" creationId="{1C0354EC-D81B-47F2-A706-D3FDD57879A9}"/>
          </ac:spMkLst>
        </pc:spChg>
        <pc:spChg chg="add mod">
          <ac:chgData name="Kishor Kukreja" userId="4b679245-99ba-4686-ad2a-c800244b8fab" providerId="ADAL" clId="{C965E74B-565A-4447-B031-34794DCAFFCE}" dt="2021-12-13T19:08:13.460" v="4738" actId="207"/>
          <ac:spMkLst>
            <pc:docMk/>
            <pc:sldMk cId="4195267601" sldId="2147375582"/>
            <ac:spMk id="28" creationId="{B2A5EFB6-2774-4070-87D8-36095FE1DF5D}"/>
          </ac:spMkLst>
        </pc:spChg>
        <pc:spChg chg="del">
          <ac:chgData name="Kishor Kukreja" userId="4b679245-99ba-4686-ad2a-c800244b8fab" providerId="ADAL" clId="{C965E74B-565A-4447-B031-34794DCAFFCE}" dt="2021-12-13T18:37:56.057" v="3864" actId="478"/>
          <ac:spMkLst>
            <pc:docMk/>
            <pc:sldMk cId="4195267601" sldId="2147375582"/>
            <ac:spMk id="29" creationId="{ACBD28C5-DD26-4073-B0B7-89726CF27A35}"/>
          </ac:spMkLst>
        </pc:spChg>
        <pc:spChg chg="add mod">
          <ac:chgData name="Kishor Kukreja" userId="4b679245-99ba-4686-ad2a-c800244b8fab" providerId="ADAL" clId="{C965E74B-565A-4447-B031-34794DCAFFCE}" dt="2021-12-13T18:45:58.839" v="4501" actId="14100"/>
          <ac:spMkLst>
            <pc:docMk/>
            <pc:sldMk cId="4195267601" sldId="2147375582"/>
            <ac:spMk id="31" creationId="{9E34BDC1-3888-4426-BE9E-8611DE6132DA}"/>
          </ac:spMkLst>
        </pc:spChg>
        <pc:spChg chg="add mod">
          <ac:chgData name="Kishor Kukreja" userId="4b679245-99ba-4686-ad2a-c800244b8fab" providerId="ADAL" clId="{C965E74B-565A-4447-B031-34794DCAFFCE}" dt="2021-12-13T18:46:16.915" v="4520" actId="20577"/>
          <ac:spMkLst>
            <pc:docMk/>
            <pc:sldMk cId="4195267601" sldId="2147375582"/>
            <ac:spMk id="32" creationId="{8BD4C73A-4E0E-4AE9-BF03-7DB8D0588CDA}"/>
          </ac:spMkLst>
        </pc:spChg>
        <pc:spChg chg="add mod">
          <ac:chgData name="Kishor Kukreja" userId="4b679245-99ba-4686-ad2a-c800244b8fab" providerId="ADAL" clId="{C965E74B-565A-4447-B031-34794DCAFFCE}" dt="2021-12-13T20:42:44.595" v="7653" actId="13822"/>
          <ac:spMkLst>
            <pc:docMk/>
            <pc:sldMk cId="4195267601" sldId="2147375582"/>
            <ac:spMk id="34" creationId="{B46B6717-34F7-4CB5-B636-1C6BFA9A36FC}"/>
          </ac:spMkLst>
        </pc:spChg>
        <pc:spChg chg="add mod">
          <ac:chgData name="Kishor Kukreja" userId="4b679245-99ba-4686-ad2a-c800244b8fab" providerId="ADAL" clId="{C965E74B-565A-4447-B031-34794DCAFFCE}" dt="2021-12-13T20:42:46.975" v="7654" actId="13822"/>
          <ac:spMkLst>
            <pc:docMk/>
            <pc:sldMk cId="4195267601" sldId="2147375582"/>
            <ac:spMk id="35" creationId="{89269A60-93CF-4384-A54D-721E15A20C98}"/>
          </ac:spMkLst>
        </pc:spChg>
        <pc:graphicFrameChg chg="add del mod modGraphic">
          <ac:chgData name="Kishor Kukreja" userId="4b679245-99ba-4686-ad2a-c800244b8fab" providerId="ADAL" clId="{C965E74B-565A-4447-B031-34794DCAFFCE}" dt="2021-12-13T18:59:06.651" v="4651" actId="478"/>
          <ac:graphicFrameMkLst>
            <pc:docMk/>
            <pc:sldMk cId="4195267601" sldId="2147375582"/>
            <ac:graphicFrameMk id="25" creationId="{21A3C50C-154F-4523-9F17-34700866AA19}"/>
          </ac:graphicFrameMkLst>
        </pc:graphicFrameChg>
        <pc:graphicFrameChg chg="add mod">
          <ac:chgData name="Kishor Kukreja" userId="4b679245-99ba-4686-ad2a-c800244b8fab" providerId="ADAL" clId="{C965E74B-565A-4447-B031-34794DCAFFCE}" dt="2021-12-13T18:59:19.131" v="4663" actId="1035"/>
          <ac:graphicFrameMkLst>
            <pc:docMk/>
            <pc:sldMk cId="4195267601" sldId="2147375582"/>
            <ac:graphicFrameMk id="33" creationId="{981C5DE2-2717-4CE9-8C4C-09F6010CFF8B}"/>
          </ac:graphicFrameMkLst>
        </pc:graphicFrameChg>
        <pc:picChg chg="del">
          <ac:chgData name="Kishor Kukreja" userId="4b679245-99ba-4686-ad2a-c800244b8fab" providerId="ADAL" clId="{C965E74B-565A-4447-B031-34794DCAFFCE}" dt="2021-12-13T18:37:56.057" v="3864" actId="478"/>
          <ac:picMkLst>
            <pc:docMk/>
            <pc:sldMk cId="4195267601" sldId="2147375582"/>
            <ac:picMk id="3" creationId="{9539738E-DDC4-4968-A322-160004680CAA}"/>
          </ac:picMkLst>
        </pc:picChg>
        <pc:picChg chg="del">
          <ac:chgData name="Kishor Kukreja" userId="4b679245-99ba-4686-ad2a-c800244b8fab" providerId="ADAL" clId="{C965E74B-565A-4447-B031-34794DCAFFCE}" dt="2021-12-13T18:37:56.057" v="3864" actId="478"/>
          <ac:picMkLst>
            <pc:docMk/>
            <pc:sldMk cId="4195267601" sldId="2147375582"/>
            <ac:picMk id="7" creationId="{ADA2211E-734D-4468-B4DA-7E376893308F}"/>
          </ac:picMkLst>
        </pc:picChg>
        <pc:picChg chg="del">
          <ac:chgData name="Kishor Kukreja" userId="4b679245-99ba-4686-ad2a-c800244b8fab" providerId="ADAL" clId="{C965E74B-565A-4447-B031-34794DCAFFCE}" dt="2021-12-13T18:38:17.041" v="3901" actId="478"/>
          <ac:picMkLst>
            <pc:docMk/>
            <pc:sldMk cId="4195267601" sldId="2147375582"/>
            <ac:picMk id="9" creationId="{94426087-343E-4ECA-9549-F2088DE7CB2F}"/>
          </ac:picMkLst>
        </pc:picChg>
        <pc:picChg chg="add del mod">
          <ac:chgData name="Kishor Kukreja" userId="4b679245-99ba-4686-ad2a-c800244b8fab" providerId="ADAL" clId="{C965E74B-565A-4447-B031-34794DCAFFCE}" dt="2021-12-13T21:22:55.399" v="8465" actId="478"/>
          <ac:picMkLst>
            <pc:docMk/>
            <pc:sldMk cId="4195267601" sldId="2147375582"/>
            <ac:picMk id="17" creationId="{80948B35-718D-4B38-AF28-0BB6AA4956EC}"/>
          </ac:picMkLst>
        </pc:picChg>
        <pc:picChg chg="del">
          <ac:chgData name="Kishor Kukreja" userId="4b679245-99ba-4686-ad2a-c800244b8fab" providerId="ADAL" clId="{C965E74B-565A-4447-B031-34794DCAFFCE}" dt="2021-12-13T18:37:53.966" v="3863" actId="478"/>
          <ac:picMkLst>
            <pc:docMk/>
            <pc:sldMk cId="4195267601" sldId="2147375582"/>
            <ac:picMk id="27" creationId="{290B8C10-2DB2-459E-8BFF-F80EE66810F7}"/>
          </ac:picMkLst>
        </pc:picChg>
        <pc:picChg chg="del">
          <ac:chgData name="Kishor Kukreja" userId="4b679245-99ba-4686-ad2a-c800244b8fab" providerId="ADAL" clId="{C965E74B-565A-4447-B031-34794DCAFFCE}" dt="2021-12-13T18:37:56.057" v="3864" actId="478"/>
          <ac:picMkLst>
            <pc:docMk/>
            <pc:sldMk cId="4195267601" sldId="2147375582"/>
            <ac:picMk id="30" creationId="{526E3FBD-5157-4FAC-B364-26A201C31AAF}"/>
          </ac:picMkLst>
        </pc:picChg>
        <pc:picChg chg="add mod">
          <ac:chgData name="Kishor Kukreja" userId="4b679245-99ba-4686-ad2a-c800244b8fab" providerId="ADAL" clId="{C965E74B-565A-4447-B031-34794DCAFFCE}" dt="2021-12-13T21:23:00.653" v="8468"/>
          <ac:picMkLst>
            <pc:docMk/>
            <pc:sldMk cId="4195267601" sldId="2147375582"/>
            <ac:picMk id="37" creationId="{981AB1C6-27B1-45B3-A8CF-EC8BB525B722}"/>
          </ac:picMkLst>
        </pc:picChg>
        <pc:cxnChg chg="add mod">
          <ac:chgData name="Kishor Kukreja" userId="4b679245-99ba-4686-ad2a-c800244b8fab" providerId="ADAL" clId="{C965E74B-565A-4447-B031-34794DCAFFCE}" dt="2021-12-13T19:06:18.175" v="4677" actId="14100"/>
          <ac:cxnSpMkLst>
            <pc:docMk/>
            <pc:sldMk cId="4195267601" sldId="2147375582"/>
            <ac:cxnSpMk id="36" creationId="{E63FAC6D-FC1E-4C34-B2D3-24C4F7A5879E}"/>
          </ac:cxnSpMkLst>
        </pc:cxnChg>
      </pc:sldChg>
      <pc:sldChg chg="modSp add del mod ord">
        <pc:chgData name="Kishor Kukreja" userId="4b679245-99ba-4686-ad2a-c800244b8fab" providerId="ADAL" clId="{C965E74B-565A-4447-B031-34794DCAFFCE}" dt="2021-12-13T19:22:17.482" v="5641" actId="47"/>
        <pc:sldMkLst>
          <pc:docMk/>
          <pc:sldMk cId="24712073" sldId="2147375583"/>
        </pc:sldMkLst>
        <pc:spChg chg="mod">
          <ac:chgData name="Kishor Kukreja" userId="4b679245-99ba-4686-ad2a-c800244b8fab" providerId="ADAL" clId="{C965E74B-565A-4447-B031-34794DCAFFCE}" dt="2021-12-13T19:22:15.277" v="5640" actId="14100"/>
          <ac:spMkLst>
            <pc:docMk/>
            <pc:sldMk cId="24712073" sldId="2147375583"/>
            <ac:spMk id="15" creationId="{A3AAA11E-189C-4733-A16A-DB08CD52FCDF}"/>
          </ac:spMkLst>
        </pc:spChg>
      </pc:sldChg>
      <pc:sldChg chg="addSp delSp modSp add mod">
        <pc:chgData name="Kishor Kukreja" userId="4b679245-99ba-4686-ad2a-c800244b8fab" providerId="ADAL" clId="{C965E74B-565A-4447-B031-34794DCAFFCE}" dt="2021-12-13T21:22:04.264" v="8460" actId="1076"/>
        <pc:sldMkLst>
          <pc:docMk/>
          <pc:sldMk cId="4154860545" sldId="2147375583"/>
        </pc:sldMkLst>
        <pc:spChg chg="mod">
          <ac:chgData name="Kishor Kukreja" userId="4b679245-99ba-4686-ad2a-c800244b8fab" providerId="ADAL" clId="{C965E74B-565A-4447-B031-34794DCAFFCE}" dt="2021-12-13T21:22:04.264" v="8460" actId="1076"/>
          <ac:spMkLst>
            <pc:docMk/>
            <pc:sldMk cId="4154860545" sldId="2147375583"/>
            <ac:spMk id="3" creationId="{2548CBD9-BE72-4CF0-B14F-11EBDD5687BA}"/>
          </ac:spMkLst>
        </pc:spChg>
        <pc:spChg chg="mod">
          <ac:chgData name="Kishor Kukreja" userId="4b679245-99ba-4686-ad2a-c800244b8fab" providerId="ADAL" clId="{C965E74B-565A-4447-B031-34794DCAFFCE}" dt="2021-12-13T21:17:20.957" v="8435" actId="20577"/>
          <ac:spMkLst>
            <pc:docMk/>
            <pc:sldMk cId="4154860545" sldId="2147375583"/>
            <ac:spMk id="4" creationId="{DB2028FE-FC7A-4899-B507-56DA4CB7B763}"/>
          </ac:spMkLst>
        </pc:spChg>
        <pc:picChg chg="del">
          <ac:chgData name="Kishor Kukreja" userId="4b679245-99ba-4686-ad2a-c800244b8fab" providerId="ADAL" clId="{C965E74B-565A-4447-B031-34794DCAFFCE}" dt="2021-12-13T19:26:51.234" v="5644" actId="478"/>
          <ac:picMkLst>
            <pc:docMk/>
            <pc:sldMk cId="4154860545" sldId="2147375583"/>
            <ac:picMk id="5" creationId="{88B1EF82-5CAF-4ADA-AFD2-BE2648F418B3}"/>
          </ac:picMkLst>
        </pc:picChg>
        <pc:picChg chg="add mod">
          <ac:chgData name="Kishor Kukreja" userId="4b679245-99ba-4686-ad2a-c800244b8fab" providerId="ADAL" clId="{C965E74B-565A-4447-B031-34794DCAFFCE}" dt="2021-12-13T19:26:54.688" v="5646" actId="1076"/>
          <ac:picMkLst>
            <pc:docMk/>
            <pc:sldMk cId="4154860545" sldId="2147375583"/>
            <ac:picMk id="6" creationId="{A28E5693-31C8-47FE-AC61-0FB6C6B0AEF4}"/>
          </ac:picMkLst>
        </pc:picChg>
      </pc:sldChg>
      <pc:sldChg chg="addSp delSp modSp add mod delCm">
        <pc:chgData name="Kishor Kukreja" userId="4b679245-99ba-4686-ad2a-c800244b8fab" providerId="ADAL" clId="{C965E74B-565A-4447-B031-34794DCAFFCE}" dt="2021-12-13T21:24:14.999" v="8522" actId="20577"/>
        <pc:sldMkLst>
          <pc:docMk/>
          <pc:sldMk cId="116894400" sldId="2147375584"/>
        </pc:sldMkLst>
        <pc:spChg chg="mod">
          <ac:chgData name="Kishor Kukreja" userId="4b679245-99ba-4686-ad2a-c800244b8fab" providerId="ADAL" clId="{C965E74B-565A-4447-B031-34794DCAFFCE}" dt="2021-12-13T21:24:14.999" v="8522" actId="20577"/>
          <ac:spMkLst>
            <pc:docMk/>
            <pc:sldMk cId="116894400" sldId="2147375584"/>
            <ac:spMk id="4" creationId="{A27CACEB-EFDC-4E71-B9FA-08C944B455EC}"/>
          </ac:spMkLst>
        </pc:spChg>
        <pc:spChg chg="add mod">
          <ac:chgData name="Kishor Kukreja" userId="4b679245-99ba-4686-ad2a-c800244b8fab" providerId="ADAL" clId="{C965E74B-565A-4447-B031-34794DCAFFCE}" dt="2021-12-13T20:12:33.378" v="6714" actId="14100"/>
          <ac:spMkLst>
            <pc:docMk/>
            <pc:sldMk cId="116894400" sldId="2147375584"/>
            <ac:spMk id="15" creationId="{C47FD524-FDB7-40D6-8FB3-0A3B944B4D03}"/>
          </ac:spMkLst>
        </pc:spChg>
        <pc:spChg chg="add mod">
          <ac:chgData name="Kishor Kukreja" userId="4b679245-99ba-4686-ad2a-c800244b8fab" providerId="ADAL" clId="{C965E74B-565A-4447-B031-34794DCAFFCE}" dt="2021-12-13T20:12:40.372" v="6716" actId="1076"/>
          <ac:spMkLst>
            <pc:docMk/>
            <pc:sldMk cId="116894400" sldId="2147375584"/>
            <ac:spMk id="16" creationId="{6B44B305-8A23-43B0-8C37-EE9170EE764A}"/>
          </ac:spMkLst>
        </pc:spChg>
        <pc:spChg chg="mod">
          <ac:chgData name="Kishor Kukreja" userId="4b679245-99ba-4686-ad2a-c800244b8fab" providerId="ADAL" clId="{C965E74B-565A-4447-B031-34794DCAFFCE}" dt="2021-12-13T19:30:22.439" v="5921" actId="20577"/>
          <ac:spMkLst>
            <pc:docMk/>
            <pc:sldMk cId="116894400" sldId="2147375584"/>
            <ac:spMk id="21" creationId="{E40D3A11-A456-48EE-A7D8-4CD2480A0F66}"/>
          </ac:spMkLst>
        </pc:spChg>
        <pc:spChg chg="mod">
          <ac:chgData name="Kishor Kukreja" userId="4b679245-99ba-4686-ad2a-c800244b8fab" providerId="ADAL" clId="{C965E74B-565A-4447-B031-34794DCAFFCE}" dt="2021-12-13T20:16:23.220" v="6761" actId="20577"/>
          <ac:spMkLst>
            <pc:docMk/>
            <pc:sldMk cId="116894400" sldId="2147375584"/>
            <ac:spMk id="28" creationId="{B2A5EFB6-2774-4070-87D8-36095FE1DF5D}"/>
          </ac:spMkLst>
        </pc:spChg>
        <pc:spChg chg="mod">
          <ac:chgData name="Kishor Kukreja" userId="4b679245-99ba-4686-ad2a-c800244b8fab" providerId="ADAL" clId="{C965E74B-565A-4447-B031-34794DCAFFCE}" dt="2021-12-13T20:42:32.753" v="7650" actId="14100"/>
          <ac:spMkLst>
            <pc:docMk/>
            <pc:sldMk cId="116894400" sldId="2147375584"/>
            <ac:spMk id="34" creationId="{B46B6717-34F7-4CB5-B636-1C6BFA9A36FC}"/>
          </ac:spMkLst>
        </pc:spChg>
        <pc:spChg chg="del">
          <ac:chgData name="Kishor Kukreja" userId="4b679245-99ba-4686-ad2a-c800244b8fab" providerId="ADAL" clId="{C965E74B-565A-4447-B031-34794DCAFFCE}" dt="2021-12-13T20:11:52.412" v="6686" actId="478"/>
          <ac:spMkLst>
            <pc:docMk/>
            <pc:sldMk cId="116894400" sldId="2147375584"/>
            <ac:spMk id="35" creationId="{89269A60-93CF-4384-A54D-721E15A20C98}"/>
          </ac:spMkLst>
        </pc:spChg>
        <pc:graphicFrameChg chg="del">
          <ac:chgData name="Kishor Kukreja" userId="4b679245-99ba-4686-ad2a-c800244b8fab" providerId="ADAL" clId="{C965E74B-565A-4447-B031-34794DCAFFCE}" dt="2021-12-13T20:11:51.035" v="6685" actId="478"/>
          <ac:graphicFrameMkLst>
            <pc:docMk/>
            <pc:sldMk cId="116894400" sldId="2147375584"/>
            <ac:graphicFrameMk id="33" creationId="{981C5DE2-2717-4CE9-8C4C-09F6010CFF8B}"/>
          </ac:graphicFrameMkLst>
        </pc:graphicFrameChg>
        <pc:picChg chg="add mod">
          <ac:chgData name="Kishor Kukreja" userId="4b679245-99ba-4686-ad2a-c800244b8fab" providerId="ADAL" clId="{C965E74B-565A-4447-B031-34794DCAFFCE}" dt="2021-12-13T20:12:04.997" v="6691" actId="14100"/>
          <ac:picMkLst>
            <pc:docMk/>
            <pc:sldMk cId="116894400" sldId="2147375584"/>
            <ac:picMk id="3" creationId="{BA666271-4CFE-4FBB-8A3C-7097E29881F8}"/>
          </ac:picMkLst>
        </pc:picChg>
        <pc:picChg chg="add mod">
          <ac:chgData name="Kishor Kukreja" userId="4b679245-99ba-4686-ad2a-c800244b8fab" providerId="ADAL" clId="{C965E74B-565A-4447-B031-34794DCAFFCE}" dt="2021-12-13T19:28:43.067" v="5725"/>
          <ac:picMkLst>
            <pc:docMk/>
            <pc:sldMk cId="116894400" sldId="2147375584"/>
            <ac:picMk id="12" creationId="{0F7D6216-2802-409F-8693-8CD40F4616BC}"/>
          </ac:picMkLst>
        </pc:picChg>
        <pc:picChg chg="del">
          <ac:chgData name="Kishor Kukreja" userId="4b679245-99ba-4686-ad2a-c800244b8fab" providerId="ADAL" clId="{C965E74B-565A-4447-B031-34794DCAFFCE}" dt="2021-12-13T19:28:42.814" v="5724" actId="478"/>
          <ac:picMkLst>
            <pc:docMk/>
            <pc:sldMk cId="116894400" sldId="2147375584"/>
            <ac:picMk id="17" creationId="{80948B35-718D-4B38-AF28-0BB6AA4956EC}"/>
          </ac:picMkLst>
        </pc:picChg>
        <pc:cxnChg chg="del">
          <ac:chgData name="Kishor Kukreja" userId="4b679245-99ba-4686-ad2a-c800244b8fab" providerId="ADAL" clId="{C965E74B-565A-4447-B031-34794DCAFFCE}" dt="2021-12-13T20:11:53.806" v="6687" actId="478"/>
          <ac:cxnSpMkLst>
            <pc:docMk/>
            <pc:sldMk cId="116894400" sldId="2147375584"/>
            <ac:cxnSpMk id="36" creationId="{E63FAC6D-FC1E-4C34-B2D3-24C4F7A5879E}"/>
          </ac:cxnSpMkLst>
        </pc:cxnChg>
      </pc:sldChg>
      <pc:sldChg chg="addSp delSp modSp add mod">
        <pc:chgData name="Kishor Kukreja" userId="4b679245-99ba-4686-ad2a-c800244b8fab" providerId="ADAL" clId="{C965E74B-565A-4447-B031-34794DCAFFCE}" dt="2021-12-13T21:17:26.045" v="8437" actId="20577"/>
        <pc:sldMkLst>
          <pc:docMk/>
          <pc:sldMk cId="3176927012" sldId="2147375585"/>
        </pc:sldMkLst>
        <pc:spChg chg="mod">
          <ac:chgData name="Kishor Kukreja" userId="4b679245-99ba-4686-ad2a-c800244b8fab" providerId="ADAL" clId="{C965E74B-565A-4447-B031-34794DCAFFCE}" dt="2021-12-13T19:39:08.125" v="6243" actId="20577"/>
          <ac:spMkLst>
            <pc:docMk/>
            <pc:sldMk cId="3176927012" sldId="2147375585"/>
            <ac:spMk id="3" creationId="{2548CBD9-BE72-4CF0-B14F-11EBDD5687BA}"/>
          </ac:spMkLst>
        </pc:spChg>
        <pc:spChg chg="mod">
          <ac:chgData name="Kishor Kukreja" userId="4b679245-99ba-4686-ad2a-c800244b8fab" providerId="ADAL" clId="{C965E74B-565A-4447-B031-34794DCAFFCE}" dt="2021-12-13T21:17:26.045" v="8437" actId="20577"/>
          <ac:spMkLst>
            <pc:docMk/>
            <pc:sldMk cId="3176927012" sldId="2147375585"/>
            <ac:spMk id="4" creationId="{DB2028FE-FC7A-4899-B507-56DA4CB7B763}"/>
          </ac:spMkLst>
        </pc:spChg>
        <pc:picChg chg="add mod">
          <ac:chgData name="Kishor Kukreja" userId="4b679245-99ba-4686-ad2a-c800244b8fab" providerId="ADAL" clId="{C965E74B-565A-4447-B031-34794DCAFFCE}" dt="2021-12-13T19:39:23.521" v="6246" actId="1076"/>
          <ac:picMkLst>
            <pc:docMk/>
            <pc:sldMk cId="3176927012" sldId="2147375585"/>
            <ac:picMk id="5" creationId="{6165F07F-E8B7-4378-80D3-AB2115099A44}"/>
          </ac:picMkLst>
        </pc:picChg>
        <pc:picChg chg="del">
          <ac:chgData name="Kishor Kukreja" userId="4b679245-99ba-4686-ad2a-c800244b8fab" providerId="ADAL" clId="{C965E74B-565A-4447-B031-34794DCAFFCE}" dt="2021-12-13T19:39:20.736" v="6244" actId="478"/>
          <ac:picMkLst>
            <pc:docMk/>
            <pc:sldMk cId="3176927012" sldId="2147375585"/>
            <ac:picMk id="6" creationId="{A28E5693-31C8-47FE-AC61-0FB6C6B0AEF4}"/>
          </ac:picMkLst>
        </pc:picChg>
      </pc:sldChg>
      <pc:sldChg chg="addSp delSp modSp add mod delCm">
        <pc:chgData name="Kishor Kukreja" userId="4b679245-99ba-4686-ad2a-c800244b8fab" providerId="ADAL" clId="{C965E74B-565A-4447-B031-34794DCAFFCE}" dt="2021-12-13T21:23:55.474" v="8509" actId="20577"/>
        <pc:sldMkLst>
          <pc:docMk/>
          <pc:sldMk cId="3941347033" sldId="2147375586"/>
        </pc:sldMkLst>
        <pc:spChg chg="mod">
          <ac:chgData name="Kishor Kukreja" userId="4b679245-99ba-4686-ad2a-c800244b8fab" providerId="ADAL" clId="{C965E74B-565A-4447-B031-34794DCAFFCE}" dt="2021-12-13T21:23:55.474" v="8509" actId="20577"/>
          <ac:spMkLst>
            <pc:docMk/>
            <pc:sldMk cId="3941347033" sldId="2147375586"/>
            <ac:spMk id="4" creationId="{A27CACEB-EFDC-4E71-B9FA-08C944B455EC}"/>
          </ac:spMkLst>
        </pc:spChg>
        <pc:spChg chg="del">
          <ac:chgData name="Kishor Kukreja" userId="4b679245-99ba-4686-ad2a-c800244b8fab" providerId="ADAL" clId="{C965E74B-565A-4447-B031-34794DCAFFCE}" dt="2021-12-13T19:47:52.539" v="6336" actId="478"/>
          <ac:spMkLst>
            <pc:docMk/>
            <pc:sldMk cId="3941347033" sldId="2147375586"/>
            <ac:spMk id="21" creationId="{E40D3A11-A456-48EE-A7D8-4CD2480A0F66}"/>
          </ac:spMkLst>
        </pc:spChg>
        <pc:spChg chg="del mod">
          <ac:chgData name="Kishor Kukreja" userId="4b679245-99ba-4686-ad2a-c800244b8fab" providerId="ADAL" clId="{C965E74B-565A-4447-B031-34794DCAFFCE}" dt="2021-12-13T19:53:30.417" v="6495" actId="478"/>
          <ac:spMkLst>
            <pc:docMk/>
            <pc:sldMk cId="3941347033" sldId="2147375586"/>
            <ac:spMk id="28" creationId="{B2A5EFB6-2774-4070-87D8-36095FE1DF5D}"/>
          </ac:spMkLst>
        </pc:spChg>
        <pc:spChg chg="mod">
          <ac:chgData name="Kishor Kukreja" userId="4b679245-99ba-4686-ad2a-c800244b8fab" providerId="ADAL" clId="{C965E74B-565A-4447-B031-34794DCAFFCE}" dt="2021-12-13T19:53:05.286" v="6492" actId="313"/>
          <ac:spMkLst>
            <pc:docMk/>
            <pc:sldMk cId="3941347033" sldId="2147375586"/>
            <ac:spMk id="31" creationId="{9E34BDC1-3888-4426-BE9E-8611DE6132DA}"/>
          </ac:spMkLst>
        </pc:spChg>
        <pc:spChg chg="mod">
          <ac:chgData name="Kishor Kukreja" userId="4b679245-99ba-4686-ad2a-c800244b8fab" providerId="ADAL" clId="{C965E74B-565A-4447-B031-34794DCAFFCE}" dt="2021-12-13T19:47:41.946" v="6334" actId="20577"/>
          <ac:spMkLst>
            <pc:docMk/>
            <pc:sldMk cId="3941347033" sldId="2147375586"/>
            <ac:spMk id="32" creationId="{8BD4C73A-4E0E-4AE9-BF03-7DB8D0588CDA}"/>
          </ac:spMkLst>
        </pc:spChg>
        <pc:spChg chg="del">
          <ac:chgData name="Kishor Kukreja" userId="4b679245-99ba-4686-ad2a-c800244b8fab" providerId="ADAL" clId="{C965E74B-565A-4447-B031-34794DCAFFCE}" dt="2021-12-13T19:47:01.343" v="6255" actId="478"/>
          <ac:spMkLst>
            <pc:docMk/>
            <pc:sldMk cId="3941347033" sldId="2147375586"/>
            <ac:spMk id="34" creationId="{B46B6717-34F7-4CB5-B636-1C6BFA9A36FC}"/>
          </ac:spMkLst>
        </pc:spChg>
        <pc:spChg chg="del">
          <ac:chgData name="Kishor Kukreja" userId="4b679245-99ba-4686-ad2a-c800244b8fab" providerId="ADAL" clId="{C965E74B-565A-4447-B031-34794DCAFFCE}" dt="2021-12-13T19:47:01.343" v="6255" actId="478"/>
          <ac:spMkLst>
            <pc:docMk/>
            <pc:sldMk cId="3941347033" sldId="2147375586"/>
            <ac:spMk id="35" creationId="{89269A60-93CF-4384-A54D-721E15A20C98}"/>
          </ac:spMkLst>
        </pc:spChg>
        <pc:graphicFrameChg chg="del">
          <ac:chgData name="Kishor Kukreja" userId="4b679245-99ba-4686-ad2a-c800244b8fab" providerId="ADAL" clId="{C965E74B-565A-4447-B031-34794DCAFFCE}" dt="2021-12-13T19:47:01.343" v="6255" actId="478"/>
          <ac:graphicFrameMkLst>
            <pc:docMk/>
            <pc:sldMk cId="3941347033" sldId="2147375586"/>
            <ac:graphicFrameMk id="33" creationId="{981C5DE2-2717-4CE9-8C4C-09F6010CFF8B}"/>
          </ac:graphicFrameMkLst>
        </pc:graphicFrameChg>
        <pc:picChg chg="add mod ord">
          <ac:chgData name="Kishor Kukreja" userId="4b679245-99ba-4686-ad2a-c800244b8fab" providerId="ADAL" clId="{C965E74B-565A-4447-B031-34794DCAFFCE}" dt="2021-12-13T19:52:46.049" v="6416" actId="1076"/>
          <ac:picMkLst>
            <pc:docMk/>
            <pc:sldMk cId="3941347033" sldId="2147375586"/>
            <ac:picMk id="3" creationId="{9E9F435E-1760-4709-95C7-AFC48D36E28F}"/>
          </ac:picMkLst>
        </pc:picChg>
        <pc:picChg chg="add mod">
          <ac:chgData name="Kishor Kukreja" userId="4b679245-99ba-4686-ad2a-c800244b8fab" providerId="ADAL" clId="{C965E74B-565A-4447-B031-34794DCAFFCE}" dt="2021-12-13T19:52:43.546" v="6415" actId="1076"/>
          <ac:picMkLst>
            <pc:docMk/>
            <pc:sldMk cId="3941347033" sldId="2147375586"/>
            <ac:picMk id="6" creationId="{ABC07299-15FE-4DB9-922A-BCAED4891009}"/>
          </ac:picMkLst>
        </pc:picChg>
        <pc:picChg chg="add mod ord">
          <ac:chgData name="Kishor Kukreja" userId="4b679245-99ba-4686-ad2a-c800244b8fab" providerId="ADAL" clId="{C965E74B-565A-4447-B031-34794DCAFFCE}" dt="2021-12-13T19:52:40.627" v="6414" actId="1076"/>
          <ac:picMkLst>
            <pc:docMk/>
            <pc:sldMk cId="3941347033" sldId="2147375586"/>
            <ac:picMk id="8" creationId="{9D3F0B90-958B-473B-936C-BBE22E69D7A5}"/>
          </ac:picMkLst>
        </pc:picChg>
        <pc:picChg chg="add mod">
          <ac:chgData name="Kishor Kukreja" userId="4b679245-99ba-4686-ad2a-c800244b8fab" providerId="ADAL" clId="{C965E74B-565A-4447-B031-34794DCAFFCE}" dt="2021-12-13T21:21:30.946" v="8459" actId="14100"/>
          <ac:picMkLst>
            <pc:docMk/>
            <pc:sldMk cId="3941347033" sldId="2147375586"/>
            <ac:picMk id="13" creationId="{33277614-2D7E-467C-86F6-DB8CEB0D1558}"/>
          </ac:picMkLst>
        </pc:picChg>
        <pc:cxnChg chg="del">
          <ac:chgData name="Kishor Kukreja" userId="4b679245-99ba-4686-ad2a-c800244b8fab" providerId="ADAL" clId="{C965E74B-565A-4447-B031-34794DCAFFCE}" dt="2021-12-13T19:47:01.343" v="6255" actId="478"/>
          <ac:cxnSpMkLst>
            <pc:docMk/>
            <pc:sldMk cId="3941347033" sldId="2147375586"/>
            <ac:cxnSpMk id="36" creationId="{E63FAC6D-FC1E-4C34-B2D3-24C4F7A5879E}"/>
          </ac:cxnSpMkLst>
        </pc:cxnChg>
      </pc:sldChg>
      <pc:sldChg chg="addSp delSp modSp add mod">
        <pc:chgData name="Kishor Kukreja" userId="4b679245-99ba-4686-ad2a-c800244b8fab" providerId="ADAL" clId="{C965E74B-565A-4447-B031-34794DCAFFCE}" dt="2021-12-13T21:23:48.543" v="8506" actId="20577"/>
        <pc:sldMkLst>
          <pc:docMk/>
          <pc:sldMk cId="635745812" sldId="2147375587"/>
        </pc:sldMkLst>
        <pc:spChg chg="mod">
          <ac:chgData name="Kishor Kukreja" userId="4b679245-99ba-4686-ad2a-c800244b8fab" providerId="ADAL" clId="{C965E74B-565A-4447-B031-34794DCAFFCE}" dt="2021-12-13T21:23:48.543" v="8506" actId="20577"/>
          <ac:spMkLst>
            <pc:docMk/>
            <pc:sldMk cId="635745812" sldId="2147375587"/>
            <ac:spMk id="4" creationId="{A27CACEB-EFDC-4E71-B9FA-08C944B455EC}"/>
          </ac:spMkLst>
        </pc:spChg>
        <pc:spChg chg="mod">
          <ac:chgData name="Kishor Kukreja" userId="4b679245-99ba-4686-ad2a-c800244b8fab" providerId="ADAL" clId="{C965E74B-565A-4447-B031-34794DCAFFCE}" dt="2021-12-13T19:56:26.457" v="6578" actId="20577"/>
          <ac:spMkLst>
            <pc:docMk/>
            <pc:sldMk cId="635745812" sldId="2147375587"/>
            <ac:spMk id="31" creationId="{9E34BDC1-3888-4426-BE9E-8611DE6132DA}"/>
          </ac:spMkLst>
        </pc:spChg>
        <pc:spChg chg="mod">
          <ac:chgData name="Kishor Kukreja" userId="4b679245-99ba-4686-ad2a-c800244b8fab" providerId="ADAL" clId="{C965E74B-565A-4447-B031-34794DCAFFCE}" dt="2021-12-13T19:56:33.868" v="6597" actId="20577"/>
          <ac:spMkLst>
            <pc:docMk/>
            <pc:sldMk cId="635745812" sldId="2147375587"/>
            <ac:spMk id="32" creationId="{8BD4C73A-4E0E-4AE9-BF03-7DB8D0588CDA}"/>
          </ac:spMkLst>
        </pc:spChg>
        <pc:graphicFrameChg chg="add del mod">
          <ac:chgData name="Kishor Kukreja" userId="4b679245-99ba-4686-ad2a-c800244b8fab" providerId="ADAL" clId="{C965E74B-565A-4447-B031-34794DCAFFCE}" dt="2021-12-13T19:56:10.822" v="6563" actId="478"/>
          <ac:graphicFrameMkLst>
            <pc:docMk/>
            <pc:sldMk cId="635745812" sldId="2147375587"/>
            <ac:graphicFrameMk id="10" creationId="{F0AD44D5-D704-43DB-A90F-5AED36455047}"/>
          </ac:graphicFrameMkLst>
        </pc:graphicFrameChg>
        <pc:picChg chg="del">
          <ac:chgData name="Kishor Kukreja" userId="4b679245-99ba-4686-ad2a-c800244b8fab" providerId="ADAL" clId="{C965E74B-565A-4447-B031-34794DCAFFCE}" dt="2021-12-13T19:54:19.637" v="6550" actId="478"/>
          <ac:picMkLst>
            <pc:docMk/>
            <pc:sldMk cId="635745812" sldId="2147375587"/>
            <ac:picMk id="3" creationId="{9E9F435E-1760-4709-95C7-AFC48D36E28F}"/>
          </ac:picMkLst>
        </pc:picChg>
        <pc:picChg chg="add mod">
          <ac:chgData name="Kishor Kukreja" userId="4b679245-99ba-4686-ad2a-c800244b8fab" providerId="ADAL" clId="{C965E74B-565A-4447-B031-34794DCAFFCE}" dt="2021-12-13T19:54:28.570" v="6555" actId="14100"/>
          <ac:picMkLst>
            <pc:docMk/>
            <pc:sldMk cId="635745812" sldId="2147375587"/>
            <ac:picMk id="5" creationId="{253193D1-1CBE-4534-ACC0-757ACBFA3694}"/>
          </ac:picMkLst>
        </pc:picChg>
        <pc:picChg chg="del">
          <ac:chgData name="Kishor Kukreja" userId="4b679245-99ba-4686-ad2a-c800244b8fab" providerId="ADAL" clId="{C965E74B-565A-4447-B031-34794DCAFFCE}" dt="2021-12-13T19:54:19.637" v="6550" actId="478"/>
          <ac:picMkLst>
            <pc:docMk/>
            <pc:sldMk cId="635745812" sldId="2147375587"/>
            <ac:picMk id="6" creationId="{ABC07299-15FE-4DB9-922A-BCAED4891009}"/>
          </ac:picMkLst>
        </pc:picChg>
        <pc:picChg chg="del">
          <ac:chgData name="Kishor Kukreja" userId="4b679245-99ba-4686-ad2a-c800244b8fab" providerId="ADAL" clId="{C965E74B-565A-4447-B031-34794DCAFFCE}" dt="2021-12-13T19:54:19.637" v="6550" actId="478"/>
          <ac:picMkLst>
            <pc:docMk/>
            <pc:sldMk cId="635745812" sldId="2147375587"/>
            <ac:picMk id="8" creationId="{9D3F0B90-958B-473B-936C-BBE22E69D7A5}"/>
          </ac:picMkLst>
        </pc:picChg>
        <pc:picChg chg="del">
          <ac:chgData name="Kishor Kukreja" userId="4b679245-99ba-4686-ad2a-c800244b8fab" providerId="ADAL" clId="{C965E74B-565A-4447-B031-34794DCAFFCE}" dt="2021-12-13T19:54:29.940" v="6556" actId="478"/>
          <ac:picMkLst>
            <pc:docMk/>
            <pc:sldMk cId="635745812" sldId="2147375587"/>
            <ac:picMk id="13" creationId="{33277614-2D7E-467C-86F6-DB8CEB0D1558}"/>
          </ac:picMkLst>
        </pc:picChg>
        <pc:picChg chg="add mod">
          <ac:chgData name="Kishor Kukreja" userId="4b679245-99ba-4686-ad2a-c800244b8fab" providerId="ADAL" clId="{C965E74B-565A-4447-B031-34794DCAFFCE}" dt="2021-12-13T21:21:12.144" v="8458" actId="14100"/>
          <ac:picMkLst>
            <pc:docMk/>
            <pc:sldMk cId="635745812" sldId="2147375587"/>
            <ac:picMk id="14" creationId="{9FF4548A-A10A-40C4-9ADD-20E744C62429}"/>
          </ac:picMkLst>
        </pc:picChg>
      </pc:sldChg>
      <pc:sldChg chg="addSp delSp modSp add mod ord">
        <pc:chgData name="Kishor Kukreja" userId="4b679245-99ba-4686-ad2a-c800244b8fab" providerId="ADAL" clId="{C965E74B-565A-4447-B031-34794DCAFFCE}" dt="2021-12-13T21:30:29.047" v="8605" actId="14100"/>
        <pc:sldMkLst>
          <pc:docMk/>
          <pc:sldMk cId="147694844" sldId="2147375588"/>
        </pc:sldMkLst>
        <pc:spChg chg="mod">
          <ac:chgData name="Kishor Kukreja" userId="4b679245-99ba-4686-ad2a-c800244b8fab" providerId="ADAL" clId="{C965E74B-565A-4447-B031-34794DCAFFCE}" dt="2021-12-13T20:53:01.898" v="7870"/>
          <ac:spMkLst>
            <pc:docMk/>
            <pc:sldMk cId="147694844" sldId="2147375588"/>
            <ac:spMk id="4" creationId="{A27CACEB-EFDC-4E71-B9FA-08C944B455EC}"/>
          </ac:spMkLst>
        </pc:spChg>
        <pc:spChg chg="del">
          <ac:chgData name="Kishor Kukreja" userId="4b679245-99ba-4686-ad2a-c800244b8fab" providerId="ADAL" clId="{C965E74B-565A-4447-B031-34794DCAFFCE}" dt="2021-12-13T20:30:56.501" v="7317" actId="478"/>
          <ac:spMkLst>
            <pc:docMk/>
            <pc:sldMk cId="147694844" sldId="2147375588"/>
            <ac:spMk id="15" creationId="{C47FD524-FDB7-40D6-8FB3-0A3B944B4D03}"/>
          </ac:spMkLst>
        </pc:spChg>
        <pc:spChg chg="del">
          <ac:chgData name="Kishor Kukreja" userId="4b679245-99ba-4686-ad2a-c800244b8fab" providerId="ADAL" clId="{C965E74B-565A-4447-B031-34794DCAFFCE}" dt="2021-12-13T20:30:56.501" v="7317" actId="478"/>
          <ac:spMkLst>
            <pc:docMk/>
            <pc:sldMk cId="147694844" sldId="2147375588"/>
            <ac:spMk id="16" creationId="{6B44B305-8A23-43B0-8C37-EE9170EE764A}"/>
          </ac:spMkLst>
        </pc:spChg>
        <pc:spChg chg="add mod">
          <ac:chgData name="Kishor Kukreja" userId="4b679245-99ba-4686-ad2a-c800244b8fab" providerId="ADAL" clId="{C965E74B-565A-4447-B031-34794DCAFFCE}" dt="2021-12-13T20:54:47.386" v="7888" actId="1076"/>
          <ac:spMkLst>
            <pc:docMk/>
            <pc:sldMk cId="147694844" sldId="2147375588"/>
            <ac:spMk id="19" creationId="{7F02CE3E-EF31-4EF7-BEA3-622AF872B65B}"/>
          </ac:spMkLst>
        </pc:spChg>
        <pc:spChg chg="del mod">
          <ac:chgData name="Kishor Kukreja" userId="4b679245-99ba-4686-ad2a-c800244b8fab" providerId="ADAL" clId="{C965E74B-565A-4447-B031-34794DCAFFCE}" dt="2021-12-13T20:31:52.720" v="7330" actId="478"/>
          <ac:spMkLst>
            <pc:docMk/>
            <pc:sldMk cId="147694844" sldId="2147375588"/>
            <ac:spMk id="21" creationId="{E40D3A11-A456-48EE-A7D8-4CD2480A0F66}"/>
          </ac:spMkLst>
        </pc:spChg>
        <pc:spChg chg="add mod">
          <ac:chgData name="Kishor Kukreja" userId="4b679245-99ba-4686-ad2a-c800244b8fab" providerId="ADAL" clId="{C965E74B-565A-4447-B031-34794DCAFFCE}" dt="2021-12-13T20:55:48.664" v="7914" actId="20577"/>
          <ac:spMkLst>
            <pc:docMk/>
            <pc:sldMk cId="147694844" sldId="2147375588"/>
            <ac:spMk id="25" creationId="{08A016B9-40FE-4751-9FD6-E118E8DB1758}"/>
          </ac:spMkLst>
        </pc:spChg>
        <pc:spChg chg="del">
          <ac:chgData name="Kishor Kukreja" userId="4b679245-99ba-4686-ad2a-c800244b8fab" providerId="ADAL" clId="{C965E74B-565A-4447-B031-34794DCAFFCE}" dt="2021-12-13T20:30:50.318" v="7314" actId="478"/>
          <ac:spMkLst>
            <pc:docMk/>
            <pc:sldMk cId="147694844" sldId="2147375588"/>
            <ac:spMk id="28" creationId="{B2A5EFB6-2774-4070-87D8-36095FE1DF5D}"/>
          </ac:spMkLst>
        </pc:spChg>
        <pc:spChg chg="mod">
          <ac:chgData name="Kishor Kukreja" userId="4b679245-99ba-4686-ad2a-c800244b8fab" providerId="ADAL" clId="{C965E74B-565A-4447-B031-34794DCAFFCE}" dt="2021-12-13T20:32:09.662" v="7337" actId="1076"/>
          <ac:spMkLst>
            <pc:docMk/>
            <pc:sldMk cId="147694844" sldId="2147375588"/>
            <ac:spMk id="31" creationId="{9E34BDC1-3888-4426-BE9E-8611DE6132DA}"/>
          </ac:spMkLst>
        </pc:spChg>
        <pc:spChg chg="del">
          <ac:chgData name="Kishor Kukreja" userId="4b679245-99ba-4686-ad2a-c800244b8fab" providerId="ADAL" clId="{C965E74B-565A-4447-B031-34794DCAFFCE}" dt="2021-12-13T20:32:03.911" v="7335" actId="478"/>
          <ac:spMkLst>
            <pc:docMk/>
            <pc:sldMk cId="147694844" sldId="2147375588"/>
            <ac:spMk id="32" creationId="{8BD4C73A-4E0E-4AE9-BF03-7DB8D0588CDA}"/>
          </ac:spMkLst>
        </pc:spChg>
        <pc:spChg chg="del">
          <ac:chgData name="Kishor Kukreja" userId="4b679245-99ba-4686-ad2a-c800244b8fab" providerId="ADAL" clId="{C965E74B-565A-4447-B031-34794DCAFFCE}" dt="2021-12-13T20:31:54.819" v="7331" actId="478"/>
          <ac:spMkLst>
            <pc:docMk/>
            <pc:sldMk cId="147694844" sldId="2147375588"/>
            <ac:spMk id="34" creationId="{B46B6717-34F7-4CB5-B636-1C6BFA9A36FC}"/>
          </ac:spMkLst>
        </pc:spChg>
        <pc:picChg chg="del">
          <ac:chgData name="Kishor Kukreja" userId="4b679245-99ba-4686-ad2a-c800244b8fab" providerId="ADAL" clId="{C965E74B-565A-4447-B031-34794DCAFFCE}" dt="2021-12-13T20:30:40.450" v="7311" actId="478"/>
          <ac:picMkLst>
            <pc:docMk/>
            <pc:sldMk cId="147694844" sldId="2147375588"/>
            <ac:picMk id="3" creationId="{BA666271-4CFE-4FBB-8A3C-7097E29881F8}"/>
          </ac:picMkLst>
        </pc:picChg>
        <pc:picChg chg="add del mod">
          <ac:chgData name="Kishor Kukreja" userId="4b679245-99ba-4686-ad2a-c800244b8fab" providerId="ADAL" clId="{C965E74B-565A-4447-B031-34794DCAFFCE}" dt="2021-12-13T20:31:55.569" v="7332" actId="478"/>
          <ac:picMkLst>
            <pc:docMk/>
            <pc:sldMk cId="147694844" sldId="2147375588"/>
            <ac:picMk id="5" creationId="{1D4FF41A-6128-4DD4-A305-05C38C66232F}"/>
          </ac:picMkLst>
        </pc:picChg>
        <pc:picChg chg="add del mod">
          <ac:chgData name="Kishor Kukreja" userId="4b679245-99ba-4686-ad2a-c800244b8fab" providerId="ADAL" clId="{C965E74B-565A-4447-B031-34794DCAFFCE}" dt="2021-12-13T20:33:34.549" v="7351" actId="478"/>
          <ac:picMkLst>
            <pc:docMk/>
            <pc:sldMk cId="147694844" sldId="2147375588"/>
            <ac:picMk id="7" creationId="{6B02A813-7A8E-42C3-8867-909071C1A19B}"/>
          </ac:picMkLst>
        </pc:picChg>
        <pc:picChg chg="add del mod ord">
          <ac:chgData name="Kishor Kukreja" userId="4b679245-99ba-4686-ad2a-c800244b8fab" providerId="ADAL" clId="{C965E74B-565A-4447-B031-34794DCAFFCE}" dt="2021-12-13T20:54:23.192" v="7880" actId="478"/>
          <ac:picMkLst>
            <pc:docMk/>
            <pc:sldMk cId="147694844" sldId="2147375588"/>
            <ac:picMk id="9" creationId="{B626E864-9EF8-4B11-B786-EBF3450FE071}"/>
          </ac:picMkLst>
        </pc:picChg>
        <pc:picChg chg="del">
          <ac:chgData name="Kishor Kukreja" userId="4b679245-99ba-4686-ad2a-c800244b8fab" providerId="ADAL" clId="{C965E74B-565A-4447-B031-34794DCAFFCE}" dt="2021-12-13T20:18:59.222" v="6780" actId="478"/>
          <ac:picMkLst>
            <pc:docMk/>
            <pc:sldMk cId="147694844" sldId="2147375588"/>
            <ac:picMk id="12" creationId="{0F7D6216-2802-409F-8693-8CD40F4616BC}"/>
          </ac:picMkLst>
        </pc:picChg>
        <pc:picChg chg="add del mod">
          <ac:chgData name="Kishor Kukreja" userId="4b679245-99ba-4686-ad2a-c800244b8fab" providerId="ADAL" clId="{C965E74B-565A-4447-B031-34794DCAFFCE}" dt="2021-12-13T20:19:04.575" v="6782" actId="478"/>
          <ac:picMkLst>
            <pc:docMk/>
            <pc:sldMk cId="147694844" sldId="2147375588"/>
            <ac:picMk id="13" creationId="{97DA9B37-60C2-44AA-8B4F-CD00A15EFFC7}"/>
          </ac:picMkLst>
        </pc:picChg>
        <pc:picChg chg="add mod">
          <ac:chgData name="Kishor Kukreja" userId="4b679245-99ba-4686-ad2a-c800244b8fab" providerId="ADAL" clId="{C965E74B-565A-4447-B031-34794DCAFFCE}" dt="2021-12-13T20:19:00.271" v="6781"/>
          <ac:picMkLst>
            <pc:docMk/>
            <pc:sldMk cId="147694844" sldId="2147375588"/>
            <ac:picMk id="14" creationId="{0AFC9CDE-9FF4-4607-B6B9-A0382A4980AC}"/>
          </ac:picMkLst>
        </pc:picChg>
        <pc:picChg chg="add del mod">
          <ac:chgData name="Kishor Kukreja" userId="4b679245-99ba-4686-ad2a-c800244b8fab" providerId="ADAL" clId="{C965E74B-565A-4447-B031-34794DCAFFCE}" dt="2021-12-13T20:19:42.392" v="6825"/>
          <ac:picMkLst>
            <pc:docMk/>
            <pc:sldMk cId="147694844" sldId="2147375588"/>
            <ac:picMk id="17" creationId="{8CE31B89-33DE-4CCA-B649-365180BFE4F3}"/>
          </ac:picMkLst>
        </pc:picChg>
        <pc:picChg chg="add mod">
          <ac:chgData name="Kishor Kukreja" userId="4b679245-99ba-4686-ad2a-c800244b8fab" providerId="ADAL" clId="{C965E74B-565A-4447-B031-34794DCAFFCE}" dt="2021-12-13T20:32:36.044" v="7346" actId="571"/>
          <ac:picMkLst>
            <pc:docMk/>
            <pc:sldMk cId="147694844" sldId="2147375588"/>
            <ac:picMk id="20" creationId="{31B131DC-C699-420C-A6DB-1A73462C39C4}"/>
          </ac:picMkLst>
        </pc:picChg>
        <pc:picChg chg="add mod">
          <ac:chgData name="Kishor Kukreja" userId="4b679245-99ba-4686-ad2a-c800244b8fab" providerId="ADAL" clId="{C965E74B-565A-4447-B031-34794DCAFFCE}" dt="2021-12-13T20:52:27.532" v="7856" actId="1076"/>
          <ac:picMkLst>
            <pc:docMk/>
            <pc:sldMk cId="147694844" sldId="2147375588"/>
            <ac:picMk id="39" creationId="{66867F84-3961-4C47-A02A-2ACD1C7FA881}"/>
          </ac:picMkLst>
        </pc:picChg>
        <pc:picChg chg="add mod">
          <ac:chgData name="Kishor Kukreja" userId="4b679245-99ba-4686-ad2a-c800244b8fab" providerId="ADAL" clId="{C965E74B-565A-4447-B031-34794DCAFFCE}" dt="2021-12-13T20:54:05.481" v="7879" actId="14100"/>
          <ac:picMkLst>
            <pc:docMk/>
            <pc:sldMk cId="147694844" sldId="2147375588"/>
            <ac:picMk id="41" creationId="{D2D7D80D-C411-412B-AEC5-586704E62709}"/>
          </ac:picMkLst>
        </pc:picChg>
        <pc:picChg chg="add mod ord">
          <ac:chgData name="Kishor Kukreja" userId="4b679245-99ba-4686-ad2a-c800244b8fab" providerId="ADAL" clId="{C965E74B-565A-4447-B031-34794DCAFFCE}" dt="2021-12-13T20:54:41.018" v="7887" actId="167"/>
          <ac:picMkLst>
            <pc:docMk/>
            <pc:sldMk cId="147694844" sldId="2147375588"/>
            <ac:picMk id="43" creationId="{D180729F-CE51-47E2-938A-FF57742054CA}"/>
          </ac:picMkLst>
        </pc:picChg>
        <pc:picChg chg="add del mod">
          <ac:chgData name="Kishor Kukreja" userId="4b679245-99ba-4686-ad2a-c800244b8fab" providerId="ADAL" clId="{C965E74B-565A-4447-B031-34794DCAFFCE}" dt="2021-12-13T20:56:18.680" v="7923"/>
          <ac:picMkLst>
            <pc:docMk/>
            <pc:sldMk cId="147694844" sldId="2147375588"/>
            <ac:picMk id="50" creationId="{A36FD879-9155-4A95-B85C-BCFA36C3EDFB}"/>
          </ac:picMkLst>
        </pc:picChg>
        <pc:picChg chg="add del mod">
          <ac:chgData name="Kishor Kukreja" userId="4b679245-99ba-4686-ad2a-c800244b8fab" providerId="ADAL" clId="{C965E74B-565A-4447-B031-34794DCAFFCE}" dt="2021-12-13T20:56:18.680" v="7923"/>
          <ac:picMkLst>
            <pc:docMk/>
            <pc:sldMk cId="147694844" sldId="2147375588"/>
            <ac:picMk id="51" creationId="{7579FAAE-F3D6-46D5-9925-17EC885F64F9}"/>
          </ac:picMkLst>
        </pc:picChg>
        <pc:picChg chg="add del mod">
          <ac:chgData name="Kishor Kukreja" userId="4b679245-99ba-4686-ad2a-c800244b8fab" providerId="ADAL" clId="{C965E74B-565A-4447-B031-34794DCAFFCE}" dt="2021-12-13T20:56:18.680" v="7923"/>
          <ac:picMkLst>
            <pc:docMk/>
            <pc:sldMk cId="147694844" sldId="2147375588"/>
            <ac:picMk id="52" creationId="{8DBAC370-45C1-4C80-8A6D-0C5FBDDA9B02}"/>
          </ac:picMkLst>
        </pc:picChg>
        <pc:picChg chg="add del mod">
          <ac:chgData name="Kishor Kukreja" userId="4b679245-99ba-4686-ad2a-c800244b8fab" providerId="ADAL" clId="{C965E74B-565A-4447-B031-34794DCAFFCE}" dt="2021-12-13T20:56:43.638" v="7934" actId="478"/>
          <ac:picMkLst>
            <pc:docMk/>
            <pc:sldMk cId="147694844" sldId="2147375588"/>
            <ac:picMk id="53" creationId="{51517A7E-03A4-4E33-B09F-284B67CA44BE}"/>
          </ac:picMkLst>
        </pc:picChg>
        <pc:picChg chg="add del mod">
          <ac:chgData name="Kishor Kukreja" userId="4b679245-99ba-4686-ad2a-c800244b8fab" providerId="ADAL" clId="{C965E74B-565A-4447-B031-34794DCAFFCE}" dt="2021-12-13T20:56:44.934" v="7935" actId="478"/>
          <ac:picMkLst>
            <pc:docMk/>
            <pc:sldMk cId="147694844" sldId="2147375588"/>
            <ac:picMk id="54" creationId="{EBF8EB9E-A7C7-4CBB-ADFB-0F408C6DF2B1}"/>
          </ac:picMkLst>
        </pc:picChg>
        <pc:picChg chg="add del mod">
          <ac:chgData name="Kishor Kukreja" userId="4b679245-99ba-4686-ad2a-c800244b8fab" providerId="ADAL" clId="{C965E74B-565A-4447-B031-34794DCAFFCE}" dt="2021-12-13T20:56:46.114" v="7936" actId="478"/>
          <ac:picMkLst>
            <pc:docMk/>
            <pc:sldMk cId="147694844" sldId="2147375588"/>
            <ac:picMk id="55" creationId="{AE60FD77-9430-42DC-963E-C7AF3CDF6F6D}"/>
          </ac:picMkLst>
        </pc:picChg>
        <pc:picChg chg="add del mod">
          <ac:chgData name="Kishor Kukreja" userId="4b679245-99ba-4686-ad2a-c800244b8fab" providerId="ADAL" clId="{C965E74B-565A-4447-B031-34794DCAFFCE}" dt="2021-12-13T20:56:46.955" v="7937" actId="478"/>
          <ac:picMkLst>
            <pc:docMk/>
            <pc:sldMk cId="147694844" sldId="2147375588"/>
            <ac:picMk id="56" creationId="{06EC9155-9D36-4DCE-AB33-7F0FB71EFE4D}"/>
          </ac:picMkLst>
        </pc:picChg>
        <pc:cxnChg chg="add mod">
          <ac:chgData name="Kishor Kukreja" userId="4b679245-99ba-4686-ad2a-c800244b8fab" providerId="ADAL" clId="{C965E74B-565A-4447-B031-34794DCAFFCE}" dt="2021-12-13T21:30:29.047" v="8605" actId="14100"/>
          <ac:cxnSpMkLst>
            <pc:docMk/>
            <pc:sldMk cId="147694844" sldId="2147375588"/>
            <ac:cxnSpMk id="23" creationId="{FB34CB4E-20C9-4341-8ECA-6DCF7951E61E}"/>
          </ac:cxnSpMkLst>
        </pc:cxnChg>
        <pc:cxnChg chg="add mod">
          <ac:chgData name="Kishor Kukreja" userId="4b679245-99ba-4686-ad2a-c800244b8fab" providerId="ADAL" clId="{C965E74B-565A-4447-B031-34794DCAFFCE}" dt="2021-12-13T21:30:26.253" v="8604" actId="14100"/>
          <ac:cxnSpMkLst>
            <pc:docMk/>
            <pc:sldMk cId="147694844" sldId="2147375588"/>
            <ac:cxnSpMk id="24" creationId="{D9AD2E4C-5306-44AC-999A-406CB4319B58}"/>
          </ac:cxnSpMkLst>
        </pc:cxnChg>
      </pc:sldChg>
      <pc:sldChg chg="addSp modSp new del mod">
        <pc:chgData name="Kishor Kukreja" userId="4b679245-99ba-4686-ad2a-c800244b8fab" providerId="ADAL" clId="{C965E74B-565A-4447-B031-34794DCAFFCE}" dt="2021-12-13T20:14:54.473" v="6732" actId="47"/>
        <pc:sldMkLst>
          <pc:docMk/>
          <pc:sldMk cId="4252830410" sldId="2147375588"/>
        </pc:sldMkLst>
        <pc:graphicFrameChg chg="add mod">
          <ac:chgData name="Kishor Kukreja" userId="4b679245-99ba-4686-ad2a-c800244b8fab" providerId="ADAL" clId="{C965E74B-565A-4447-B031-34794DCAFFCE}" dt="2021-12-13T20:11:24.023" v="6684" actId="20577"/>
          <ac:graphicFrameMkLst>
            <pc:docMk/>
            <pc:sldMk cId="4252830410" sldId="2147375588"/>
            <ac:graphicFrameMk id="5" creationId="{1C1E22ED-FADC-4B78-97B1-518E8C9039CB}"/>
          </ac:graphicFrameMkLst>
        </pc:graphicFrameChg>
      </pc:sldChg>
      <pc:sldChg chg="addSp delSp modSp add mod ord">
        <pc:chgData name="Kishor Kukreja" userId="4b679245-99ba-4686-ad2a-c800244b8fab" providerId="ADAL" clId="{C965E74B-565A-4447-B031-34794DCAFFCE}" dt="2021-12-13T21:37:55.780" v="8608" actId="14100"/>
        <pc:sldMkLst>
          <pc:docMk/>
          <pc:sldMk cId="4134591691" sldId="2147375589"/>
        </pc:sldMkLst>
        <pc:spChg chg="add mod">
          <ac:chgData name="Kishor Kukreja" userId="4b679245-99ba-4686-ad2a-c800244b8fab" providerId="ADAL" clId="{C965E74B-565A-4447-B031-34794DCAFFCE}" dt="2021-12-13T21:29:59.648" v="8603" actId="404"/>
          <ac:spMkLst>
            <pc:docMk/>
            <pc:sldMk cId="4134591691" sldId="2147375589"/>
            <ac:spMk id="20" creationId="{300249DD-C372-4BAE-BB10-B5DFB4781994}"/>
          </ac:spMkLst>
        </pc:spChg>
        <pc:spChg chg="mod">
          <ac:chgData name="Kishor Kukreja" userId="4b679245-99ba-4686-ad2a-c800244b8fab" providerId="ADAL" clId="{C965E74B-565A-4447-B031-34794DCAFFCE}" dt="2021-12-13T21:25:56.491" v="8537" actId="122"/>
          <ac:spMkLst>
            <pc:docMk/>
            <pc:sldMk cId="4134591691" sldId="2147375589"/>
            <ac:spMk id="21" creationId="{E40D3A11-A456-48EE-A7D8-4CD2480A0F66}"/>
          </ac:spMkLst>
        </pc:spChg>
        <pc:spChg chg="add mod">
          <ac:chgData name="Kishor Kukreja" userId="4b679245-99ba-4686-ad2a-c800244b8fab" providerId="ADAL" clId="{C965E74B-565A-4447-B031-34794DCAFFCE}" dt="2021-12-13T21:29:45.537" v="8599" actId="1076"/>
          <ac:spMkLst>
            <pc:docMk/>
            <pc:sldMk cId="4134591691" sldId="2147375589"/>
            <ac:spMk id="24" creationId="{9489473B-DC35-448E-8C73-DB7F81B7CF5D}"/>
          </ac:spMkLst>
        </pc:spChg>
        <pc:spChg chg="add mod">
          <ac:chgData name="Kishor Kukreja" userId="4b679245-99ba-4686-ad2a-c800244b8fab" providerId="ADAL" clId="{C965E74B-565A-4447-B031-34794DCAFFCE}" dt="2021-12-13T21:29:24.783" v="8593" actId="113"/>
          <ac:spMkLst>
            <pc:docMk/>
            <pc:sldMk cId="4134591691" sldId="2147375589"/>
            <ac:spMk id="25" creationId="{33F9D98C-F136-46B0-A7A0-4971027F8F45}"/>
          </ac:spMkLst>
        </pc:spChg>
        <pc:spChg chg="add mod">
          <ac:chgData name="Kishor Kukreja" userId="4b679245-99ba-4686-ad2a-c800244b8fab" providerId="ADAL" clId="{C965E74B-565A-4447-B031-34794DCAFFCE}" dt="2021-12-13T21:29:49.743" v="8601" actId="1076"/>
          <ac:spMkLst>
            <pc:docMk/>
            <pc:sldMk cId="4134591691" sldId="2147375589"/>
            <ac:spMk id="29" creationId="{6B14DE09-83C0-4ED7-8D4D-40E4BCF4B1BA}"/>
          </ac:spMkLst>
        </pc:spChg>
        <pc:spChg chg="mod">
          <ac:chgData name="Kishor Kukreja" userId="4b679245-99ba-4686-ad2a-c800244b8fab" providerId="ADAL" clId="{C965E74B-565A-4447-B031-34794DCAFFCE}" dt="2021-12-13T20:42:09.947" v="7648" actId="13822"/>
          <ac:spMkLst>
            <pc:docMk/>
            <pc:sldMk cId="4134591691" sldId="2147375589"/>
            <ac:spMk id="34" creationId="{B46B6717-34F7-4CB5-B636-1C6BFA9A36FC}"/>
          </ac:spMkLst>
        </pc:spChg>
        <pc:picChg chg="add del mod">
          <ac:chgData name="Kishor Kukreja" userId="4b679245-99ba-4686-ad2a-c800244b8fab" providerId="ADAL" clId="{C965E74B-565A-4447-B031-34794DCAFFCE}" dt="2021-12-13T20:49:39.048" v="7715" actId="478"/>
          <ac:picMkLst>
            <pc:docMk/>
            <pc:sldMk cId="4134591691" sldId="2147375589"/>
            <ac:picMk id="3" creationId="{E6287D3E-89CA-48FE-B810-8288E44DCFDE}"/>
          </ac:picMkLst>
        </pc:picChg>
        <pc:picChg chg="add del mod">
          <ac:chgData name="Kishor Kukreja" userId="4b679245-99ba-4686-ad2a-c800244b8fab" providerId="ADAL" clId="{C965E74B-565A-4447-B031-34794DCAFFCE}" dt="2021-12-13T20:49:38.431" v="7714" actId="478"/>
          <ac:picMkLst>
            <pc:docMk/>
            <pc:sldMk cId="4134591691" sldId="2147375589"/>
            <ac:picMk id="5" creationId="{1D4FF41A-6128-4DD4-A305-05C38C66232F}"/>
          </ac:picMkLst>
        </pc:picChg>
        <pc:picChg chg="del">
          <ac:chgData name="Kishor Kukreja" userId="4b679245-99ba-4686-ad2a-c800244b8fab" providerId="ADAL" clId="{C965E74B-565A-4447-B031-34794DCAFFCE}" dt="2021-12-13T20:35:19.666" v="7417" actId="478"/>
          <ac:picMkLst>
            <pc:docMk/>
            <pc:sldMk cId="4134591691" sldId="2147375589"/>
            <ac:picMk id="7" creationId="{6B02A813-7A8E-42C3-8867-909071C1A19B}"/>
          </ac:picMkLst>
        </pc:picChg>
        <pc:picChg chg="add del mod">
          <ac:chgData name="Kishor Kukreja" userId="4b679245-99ba-4686-ad2a-c800244b8fab" providerId="ADAL" clId="{C965E74B-565A-4447-B031-34794DCAFFCE}" dt="2021-12-13T20:49:42.932" v="7719" actId="478"/>
          <ac:picMkLst>
            <pc:docMk/>
            <pc:sldMk cId="4134591691" sldId="2147375589"/>
            <ac:picMk id="8" creationId="{94872594-5180-40AA-9500-1CAC779FB398}"/>
          </ac:picMkLst>
        </pc:picChg>
        <pc:picChg chg="add del mod">
          <ac:chgData name="Kishor Kukreja" userId="4b679245-99ba-4686-ad2a-c800244b8fab" providerId="ADAL" clId="{C965E74B-565A-4447-B031-34794DCAFFCE}" dt="2021-12-13T20:49:40.609" v="7717" actId="478"/>
          <ac:picMkLst>
            <pc:docMk/>
            <pc:sldMk cId="4134591691" sldId="2147375589"/>
            <ac:picMk id="10" creationId="{F80AC4D6-19EB-4F2D-9199-2D024BD866D0}"/>
          </ac:picMkLst>
        </pc:picChg>
        <pc:picChg chg="add del mod">
          <ac:chgData name="Kishor Kukreja" userId="4b679245-99ba-4686-ad2a-c800244b8fab" providerId="ADAL" clId="{C965E74B-565A-4447-B031-34794DCAFFCE}" dt="2021-12-13T20:49:43.422" v="7720" actId="478"/>
          <ac:picMkLst>
            <pc:docMk/>
            <pc:sldMk cId="4134591691" sldId="2147375589"/>
            <ac:picMk id="12" creationId="{B674DB8E-4198-4160-978B-E6C2D3002B65}"/>
          </ac:picMkLst>
        </pc:picChg>
        <pc:picChg chg="add del mod">
          <ac:chgData name="Kishor Kukreja" userId="4b679245-99ba-4686-ad2a-c800244b8fab" providerId="ADAL" clId="{C965E74B-565A-4447-B031-34794DCAFFCE}" dt="2021-12-13T20:49:39.819" v="7716" actId="478"/>
          <ac:picMkLst>
            <pc:docMk/>
            <pc:sldMk cId="4134591691" sldId="2147375589"/>
            <ac:picMk id="15" creationId="{C456CC3B-B631-496E-94FB-A75797C3A0F6}"/>
          </ac:picMkLst>
        </pc:picChg>
        <pc:picChg chg="add del mod">
          <ac:chgData name="Kishor Kukreja" userId="4b679245-99ba-4686-ad2a-c800244b8fab" providerId="ADAL" clId="{C965E74B-565A-4447-B031-34794DCAFFCE}" dt="2021-12-13T20:49:27.469" v="7703" actId="22"/>
          <ac:picMkLst>
            <pc:docMk/>
            <pc:sldMk cId="4134591691" sldId="2147375589"/>
            <ac:picMk id="17" creationId="{39A7A47A-F175-4906-8055-03781B243405}"/>
          </ac:picMkLst>
        </pc:picChg>
        <pc:picChg chg="add mod">
          <ac:chgData name="Kishor Kukreja" userId="4b679245-99ba-4686-ad2a-c800244b8fab" providerId="ADAL" clId="{C965E74B-565A-4447-B031-34794DCAFFCE}" dt="2021-12-13T21:37:55.780" v="8608" actId="14100"/>
          <ac:picMkLst>
            <pc:docMk/>
            <pc:sldMk cId="4134591691" sldId="2147375589"/>
            <ac:picMk id="19" creationId="{60C27F3F-529D-4B8A-A649-2DA89D4132B2}"/>
          </ac:picMkLst>
        </pc:picChg>
        <pc:picChg chg="add mod">
          <ac:chgData name="Kishor Kukreja" userId="4b679245-99ba-4686-ad2a-c800244b8fab" providerId="ADAL" clId="{C965E74B-565A-4447-B031-34794DCAFFCE}" dt="2021-12-13T21:26:04.062" v="8538" actId="1076"/>
          <ac:picMkLst>
            <pc:docMk/>
            <pc:sldMk cId="4134591691" sldId="2147375589"/>
            <ac:picMk id="23" creationId="{58F4D1A4-A14A-4BD7-9D7F-08175776759F}"/>
          </ac:picMkLst>
        </pc:picChg>
      </pc:sldChg>
      <pc:sldChg chg="delSp modSp add del mod">
        <pc:chgData name="Kishor Kukreja" userId="4b679245-99ba-4686-ad2a-c800244b8fab" providerId="ADAL" clId="{C965E74B-565A-4447-B031-34794DCAFFCE}" dt="2021-12-13T21:08:44.338" v="8128" actId="47"/>
        <pc:sldMkLst>
          <pc:docMk/>
          <pc:sldMk cId="931979540" sldId="2147375590"/>
        </pc:sldMkLst>
        <pc:picChg chg="del">
          <ac:chgData name="Kishor Kukreja" userId="4b679245-99ba-4686-ad2a-c800244b8fab" providerId="ADAL" clId="{C965E74B-565A-4447-B031-34794DCAFFCE}" dt="2021-12-13T20:56:38.565" v="7931" actId="478"/>
          <ac:picMkLst>
            <pc:docMk/>
            <pc:sldMk cId="931979540" sldId="2147375590"/>
            <ac:picMk id="39" creationId="{66867F84-3961-4C47-A02A-2ACD1C7FA881}"/>
          </ac:picMkLst>
        </pc:picChg>
        <pc:picChg chg="del">
          <ac:chgData name="Kishor Kukreja" userId="4b679245-99ba-4686-ad2a-c800244b8fab" providerId="ADAL" clId="{C965E74B-565A-4447-B031-34794DCAFFCE}" dt="2021-12-13T20:56:41.829" v="7933" actId="478"/>
          <ac:picMkLst>
            <pc:docMk/>
            <pc:sldMk cId="931979540" sldId="2147375590"/>
            <ac:picMk id="53" creationId="{51517A7E-03A4-4E33-B09F-284B67CA44BE}"/>
          </ac:picMkLst>
        </pc:picChg>
        <pc:picChg chg="mod">
          <ac:chgData name="Kishor Kukreja" userId="4b679245-99ba-4686-ad2a-c800244b8fab" providerId="ADAL" clId="{C965E74B-565A-4447-B031-34794DCAFFCE}" dt="2021-12-13T20:56:41.041" v="7932" actId="1076"/>
          <ac:picMkLst>
            <pc:docMk/>
            <pc:sldMk cId="931979540" sldId="2147375590"/>
            <ac:picMk id="54" creationId="{EBF8EB9E-A7C7-4CBB-ADFB-0F408C6DF2B1}"/>
          </ac:picMkLst>
        </pc:picChg>
        <pc:picChg chg="del">
          <ac:chgData name="Kishor Kukreja" userId="4b679245-99ba-4686-ad2a-c800244b8fab" providerId="ADAL" clId="{C965E74B-565A-4447-B031-34794DCAFFCE}" dt="2021-12-13T21:02:52.777" v="8122" actId="478"/>
          <ac:picMkLst>
            <pc:docMk/>
            <pc:sldMk cId="931979540" sldId="2147375590"/>
            <ac:picMk id="55" creationId="{AE60FD77-9430-42DC-963E-C7AF3CDF6F6D}"/>
          </ac:picMkLst>
        </pc:picChg>
        <pc:picChg chg="del">
          <ac:chgData name="Kishor Kukreja" userId="4b679245-99ba-4686-ad2a-c800244b8fab" providerId="ADAL" clId="{C965E74B-565A-4447-B031-34794DCAFFCE}" dt="2021-12-13T21:02:53.834" v="8123" actId="478"/>
          <ac:picMkLst>
            <pc:docMk/>
            <pc:sldMk cId="931979540" sldId="2147375590"/>
            <ac:picMk id="56" creationId="{06EC9155-9D36-4DCE-AB33-7F0FB71EFE4D}"/>
          </ac:picMkLst>
        </pc:picChg>
      </pc:sldChg>
      <pc:sldChg chg="add del">
        <pc:chgData name="Kishor Kukreja" userId="4b679245-99ba-4686-ad2a-c800244b8fab" providerId="ADAL" clId="{C965E74B-565A-4447-B031-34794DCAFFCE}" dt="2021-12-13T20:39:15.675" v="7496" actId="47"/>
        <pc:sldMkLst>
          <pc:docMk/>
          <pc:sldMk cId="1712944468" sldId="2147375590"/>
        </pc:sldMkLst>
      </pc:sldChg>
      <pc:sldChg chg="addSp delSp modSp add del mod">
        <pc:chgData name="Kishor Kukreja" userId="4b679245-99ba-4686-ad2a-c800244b8fab" providerId="ADAL" clId="{C965E74B-565A-4447-B031-34794DCAFFCE}" dt="2021-12-13T20:56:31.048" v="7927" actId="47"/>
        <pc:sldMkLst>
          <pc:docMk/>
          <pc:sldMk cId="4250735385" sldId="2147375590"/>
        </pc:sldMkLst>
        <pc:spChg chg="mod">
          <ac:chgData name="Kishor Kukreja" userId="4b679245-99ba-4686-ad2a-c800244b8fab" providerId="ADAL" clId="{C965E74B-565A-4447-B031-34794DCAFFCE}" dt="2021-12-13T20:45:35.062" v="7680" actId="1076"/>
          <ac:spMkLst>
            <pc:docMk/>
            <pc:sldMk cId="4250735385" sldId="2147375590"/>
            <ac:spMk id="19" creationId="{7F02CE3E-EF31-4EF7-BEA3-622AF872B65B}"/>
          </ac:spMkLst>
        </pc:spChg>
        <pc:spChg chg="mod">
          <ac:chgData name="Kishor Kukreja" userId="4b679245-99ba-4686-ad2a-c800244b8fab" providerId="ADAL" clId="{C965E74B-565A-4447-B031-34794DCAFFCE}" dt="2021-12-13T20:46:08.532" v="7690" actId="14100"/>
          <ac:spMkLst>
            <pc:docMk/>
            <pc:sldMk cId="4250735385" sldId="2147375590"/>
            <ac:spMk id="25" creationId="{08A016B9-40FE-4751-9FD6-E118E8DB1758}"/>
          </ac:spMkLst>
        </pc:spChg>
        <pc:picChg chg="add del mod">
          <ac:chgData name="Kishor Kukreja" userId="4b679245-99ba-4686-ad2a-c800244b8fab" providerId="ADAL" clId="{C965E74B-565A-4447-B031-34794DCAFFCE}" dt="2021-12-13T20:45:07.119" v="7674" actId="478"/>
          <ac:picMkLst>
            <pc:docMk/>
            <pc:sldMk cId="4250735385" sldId="2147375590"/>
            <ac:picMk id="3" creationId="{7F8A3217-7908-46C2-8301-92FDCE64E918}"/>
          </ac:picMkLst>
        </pc:picChg>
        <pc:picChg chg="add mod ord">
          <ac:chgData name="Kishor Kukreja" userId="4b679245-99ba-4686-ad2a-c800244b8fab" providerId="ADAL" clId="{C965E74B-565A-4447-B031-34794DCAFFCE}" dt="2021-12-13T20:45:20.755" v="7679" actId="167"/>
          <ac:picMkLst>
            <pc:docMk/>
            <pc:sldMk cId="4250735385" sldId="2147375590"/>
            <ac:picMk id="6" creationId="{6425DFEE-8E60-4CA6-8D12-B4CCF189FE7A}"/>
          </ac:picMkLst>
        </pc:picChg>
        <pc:picChg chg="del">
          <ac:chgData name="Kishor Kukreja" userId="4b679245-99ba-4686-ad2a-c800244b8fab" providerId="ADAL" clId="{C965E74B-565A-4447-B031-34794DCAFFCE}" dt="2021-12-13T20:44:36.262" v="7670" actId="478"/>
          <ac:picMkLst>
            <pc:docMk/>
            <pc:sldMk cId="4250735385" sldId="2147375590"/>
            <ac:picMk id="9" creationId="{B626E864-9EF8-4B11-B786-EBF3450FE071}"/>
          </ac:picMkLst>
        </pc:picChg>
        <pc:cxnChg chg="mod">
          <ac:chgData name="Kishor Kukreja" userId="4b679245-99ba-4686-ad2a-c800244b8fab" providerId="ADAL" clId="{C965E74B-565A-4447-B031-34794DCAFFCE}" dt="2021-12-13T20:46:08.532" v="7690" actId="14100"/>
          <ac:cxnSpMkLst>
            <pc:docMk/>
            <pc:sldMk cId="4250735385" sldId="2147375590"/>
            <ac:cxnSpMk id="23" creationId="{FB34CB4E-20C9-4341-8ECA-6DCF7951E61E}"/>
          </ac:cxnSpMkLst>
        </pc:cxnChg>
        <pc:cxnChg chg="mod">
          <ac:chgData name="Kishor Kukreja" userId="4b679245-99ba-4686-ad2a-c800244b8fab" providerId="ADAL" clId="{C965E74B-565A-4447-B031-34794DCAFFCE}" dt="2021-12-13T20:46:08.532" v="7690" actId="14100"/>
          <ac:cxnSpMkLst>
            <pc:docMk/>
            <pc:sldMk cId="4250735385" sldId="2147375590"/>
            <ac:cxnSpMk id="24" creationId="{D9AD2E4C-5306-44AC-999A-406CB4319B58}"/>
          </ac:cxnSpMkLst>
        </pc:cxnChg>
      </pc:sldChg>
      <pc:sldChg chg="modSp add del mod">
        <pc:chgData name="Kishor Kukreja" userId="4b679245-99ba-4686-ad2a-c800244b8fab" providerId="ADAL" clId="{C965E74B-565A-4447-B031-34794DCAFFCE}" dt="2021-12-13T20:56:30.192" v="7925" actId="47"/>
        <pc:sldMkLst>
          <pc:docMk/>
          <pc:sldMk cId="955769366" sldId="2147375591"/>
        </pc:sldMkLst>
        <pc:picChg chg="mod">
          <ac:chgData name="Kishor Kukreja" userId="4b679245-99ba-4686-ad2a-c800244b8fab" providerId="ADAL" clId="{C965E74B-565A-4447-B031-34794DCAFFCE}" dt="2021-12-13T20:56:11.899" v="7921" actId="1076"/>
          <ac:picMkLst>
            <pc:docMk/>
            <pc:sldMk cId="955769366" sldId="2147375591"/>
            <ac:picMk id="19" creationId="{60C27F3F-529D-4B8A-A649-2DA89D4132B2}"/>
          </ac:picMkLst>
        </pc:picChg>
      </pc:sldChg>
      <pc:sldChg chg="addSp delSp modSp add mod">
        <pc:chgData name="Kishor Kukreja" userId="4b679245-99ba-4686-ad2a-c800244b8fab" providerId="ADAL" clId="{C965E74B-565A-4447-B031-34794DCAFFCE}" dt="2021-12-13T21:02:35.345" v="8121" actId="478"/>
        <pc:sldMkLst>
          <pc:docMk/>
          <pc:sldMk cId="1266050680" sldId="2147375591"/>
        </pc:sldMkLst>
        <pc:spChg chg="mod">
          <ac:chgData name="Kishor Kukreja" userId="4b679245-99ba-4686-ad2a-c800244b8fab" providerId="ADAL" clId="{C965E74B-565A-4447-B031-34794DCAFFCE}" dt="2021-12-13T21:00:23.272" v="8016" actId="20577"/>
          <ac:spMkLst>
            <pc:docMk/>
            <pc:sldMk cId="1266050680" sldId="2147375591"/>
            <ac:spMk id="4" creationId="{A27CACEB-EFDC-4E71-B9FA-08C944B455EC}"/>
          </ac:spMkLst>
        </pc:spChg>
        <pc:spChg chg="mod">
          <ac:chgData name="Kishor Kukreja" userId="4b679245-99ba-4686-ad2a-c800244b8fab" providerId="ADAL" clId="{C965E74B-565A-4447-B031-34794DCAFFCE}" dt="2021-12-13T21:01:19.722" v="8032" actId="14100"/>
          <ac:spMkLst>
            <pc:docMk/>
            <pc:sldMk cId="1266050680" sldId="2147375591"/>
            <ac:spMk id="19" creationId="{7F02CE3E-EF31-4EF7-BEA3-622AF872B65B}"/>
          </ac:spMkLst>
        </pc:spChg>
        <pc:spChg chg="mod">
          <ac:chgData name="Kishor Kukreja" userId="4b679245-99ba-4686-ad2a-c800244b8fab" providerId="ADAL" clId="{C965E74B-565A-4447-B031-34794DCAFFCE}" dt="2021-12-13T21:01:58.167" v="8114" actId="20577"/>
          <ac:spMkLst>
            <pc:docMk/>
            <pc:sldMk cId="1266050680" sldId="2147375591"/>
            <ac:spMk id="25" creationId="{08A016B9-40FE-4751-9FD6-E118E8DB1758}"/>
          </ac:spMkLst>
        </pc:spChg>
        <pc:picChg chg="add mod ord">
          <ac:chgData name="Kishor Kukreja" userId="4b679245-99ba-4686-ad2a-c800244b8fab" providerId="ADAL" clId="{C965E74B-565A-4447-B031-34794DCAFFCE}" dt="2021-12-13T21:01:14.155" v="8030" actId="167"/>
          <ac:picMkLst>
            <pc:docMk/>
            <pc:sldMk cId="1266050680" sldId="2147375591"/>
            <ac:picMk id="3" creationId="{D320C2D5-FAB9-40A1-AF71-058E034E03B0}"/>
          </ac:picMkLst>
        </pc:picChg>
        <pc:picChg chg="add mod">
          <ac:chgData name="Kishor Kukreja" userId="4b679245-99ba-4686-ad2a-c800244b8fab" providerId="ADAL" clId="{C965E74B-565A-4447-B031-34794DCAFFCE}" dt="2021-12-13T21:02:30.663" v="8120" actId="14100"/>
          <ac:picMkLst>
            <pc:docMk/>
            <pc:sldMk cId="1266050680" sldId="2147375591"/>
            <ac:picMk id="6" creationId="{9523D175-DBD0-4A56-9232-7224B67E25B2}"/>
          </ac:picMkLst>
        </pc:picChg>
        <pc:picChg chg="add mod">
          <ac:chgData name="Kishor Kukreja" userId="4b679245-99ba-4686-ad2a-c800244b8fab" providerId="ADAL" clId="{C965E74B-565A-4447-B031-34794DCAFFCE}" dt="2021-12-13T21:01:02.376" v="8024" actId="571"/>
          <ac:picMkLst>
            <pc:docMk/>
            <pc:sldMk cId="1266050680" sldId="2147375591"/>
            <ac:picMk id="18" creationId="{B38F4042-EF1D-48D1-BFAE-691211255E02}"/>
          </ac:picMkLst>
        </pc:picChg>
        <pc:picChg chg="del">
          <ac:chgData name="Kishor Kukreja" userId="4b679245-99ba-4686-ad2a-c800244b8fab" providerId="ADAL" clId="{C965E74B-565A-4447-B031-34794DCAFFCE}" dt="2021-12-13T20:56:49.426" v="7938" actId="478"/>
          <ac:picMkLst>
            <pc:docMk/>
            <pc:sldMk cId="1266050680" sldId="2147375591"/>
            <ac:picMk id="39" creationId="{66867F84-3961-4C47-A02A-2ACD1C7FA881}"/>
          </ac:picMkLst>
        </pc:picChg>
        <pc:picChg chg="del">
          <ac:chgData name="Kishor Kukreja" userId="4b679245-99ba-4686-ad2a-c800244b8fab" providerId="ADAL" clId="{C965E74B-565A-4447-B031-34794DCAFFCE}" dt="2021-12-13T21:02:12.749" v="8115" actId="478"/>
          <ac:picMkLst>
            <pc:docMk/>
            <pc:sldMk cId="1266050680" sldId="2147375591"/>
            <ac:picMk id="41" creationId="{D2D7D80D-C411-412B-AEC5-586704E62709}"/>
          </ac:picMkLst>
        </pc:picChg>
        <pc:picChg chg="del">
          <ac:chgData name="Kishor Kukreja" userId="4b679245-99ba-4686-ad2a-c800244b8fab" providerId="ADAL" clId="{C965E74B-565A-4447-B031-34794DCAFFCE}" dt="2021-12-13T21:00:38.055" v="8017" actId="478"/>
          <ac:picMkLst>
            <pc:docMk/>
            <pc:sldMk cId="1266050680" sldId="2147375591"/>
            <ac:picMk id="43" creationId="{D180729F-CE51-47E2-938A-FF57742054CA}"/>
          </ac:picMkLst>
        </pc:picChg>
        <pc:picChg chg="del">
          <ac:chgData name="Kishor Kukreja" userId="4b679245-99ba-4686-ad2a-c800244b8fab" providerId="ADAL" clId="{C965E74B-565A-4447-B031-34794DCAFFCE}" dt="2021-12-13T20:56:50.529" v="7939" actId="478"/>
          <ac:picMkLst>
            <pc:docMk/>
            <pc:sldMk cId="1266050680" sldId="2147375591"/>
            <ac:picMk id="53" creationId="{51517A7E-03A4-4E33-B09F-284B67CA44BE}"/>
          </ac:picMkLst>
        </pc:picChg>
        <pc:picChg chg="del">
          <ac:chgData name="Kishor Kukreja" userId="4b679245-99ba-4686-ad2a-c800244b8fab" providerId="ADAL" clId="{C965E74B-565A-4447-B031-34794DCAFFCE}" dt="2021-12-13T20:56:51.214" v="7940" actId="478"/>
          <ac:picMkLst>
            <pc:docMk/>
            <pc:sldMk cId="1266050680" sldId="2147375591"/>
            <ac:picMk id="54" creationId="{EBF8EB9E-A7C7-4CBB-ADFB-0F408C6DF2B1}"/>
          </ac:picMkLst>
        </pc:picChg>
        <pc:picChg chg="mod">
          <ac:chgData name="Kishor Kukreja" userId="4b679245-99ba-4686-ad2a-c800244b8fab" providerId="ADAL" clId="{C965E74B-565A-4447-B031-34794DCAFFCE}" dt="2021-12-13T20:56:53.933" v="7941" actId="1076"/>
          <ac:picMkLst>
            <pc:docMk/>
            <pc:sldMk cId="1266050680" sldId="2147375591"/>
            <ac:picMk id="55" creationId="{AE60FD77-9430-42DC-963E-C7AF3CDF6F6D}"/>
          </ac:picMkLst>
        </pc:picChg>
        <pc:picChg chg="del">
          <ac:chgData name="Kishor Kukreja" userId="4b679245-99ba-4686-ad2a-c800244b8fab" providerId="ADAL" clId="{C965E74B-565A-4447-B031-34794DCAFFCE}" dt="2021-12-13T21:02:35.345" v="8121" actId="478"/>
          <ac:picMkLst>
            <pc:docMk/>
            <pc:sldMk cId="1266050680" sldId="2147375591"/>
            <ac:picMk id="56" creationId="{06EC9155-9D36-4DCE-AB33-7F0FB71EFE4D}"/>
          </ac:picMkLst>
        </pc:picChg>
        <pc:cxnChg chg="mod">
          <ac:chgData name="Kishor Kukreja" userId="4b679245-99ba-4686-ad2a-c800244b8fab" providerId="ADAL" clId="{C965E74B-565A-4447-B031-34794DCAFFCE}" dt="2021-12-13T21:01:34.122" v="8069" actId="20577"/>
          <ac:cxnSpMkLst>
            <pc:docMk/>
            <pc:sldMk cId="1266050680" sldId="2147375591"/>
            <ac:cxnSpMk id="23" creationId="{FB34CB4E-20C9-4341-8ECA-6DCF7951E61E}"/>
          </ac:cxnSpMkLst>
        </pc:cxnChg>
        <pc:cxnChg chg="mod">
          <ac:chgData name="Kishor Kukreja" userId="4b679245-99ba-4686-ad2a-c800244b8fab" providerId="ADAL" clId="{C965E74B-565A-4447-B031-34794DCAFFCE}" dt="2021-12-13T21:01:34.122" v="8069" actId="20577"/>
          <ac:cxnSpMkLst>
            <pc:docMk/>
            <pc:sldMk cId="1266050680" sldId="2147375591"/>
            <ac:cxnSpMk id="24" creationId="{D9AD2E4C-5306-44AC-999A-406CB4319B58}"/>
          </ac:cxnSpMkLst>
        </pc:cxnChg>
      </pc:sldChg>
      <pc:sldChg chg="addSp delSp modSp add mod ord">
        <pc:chgData name="Kishor Kukreja" userId="4b679245-99ba-4686-ad2a-c800244b8fab" providerId="ADAL" clId="{C965E74B-565A-4447-B031-34794DCAFFCE}" dt="2021-12-13T21:30:41.555" v="8607" actId="14100"/>
        <pc:sldMkLst>
          <pc:docMk/>
          <pc:sldMk cId="2910624008" sldId="2147375592"/>
        </pc:sldMkLst>
        <pc:spChg chg="mod">
          <ac:chgData name="Kishor Kukreja" userId="4b679245-99ba-4686-ad2a-c800244b8fab" providerId="ADAL" clId="{C965E74B-565A-4447-B031-34794DCAFFCE}" dt="2021-12-13T20:57:34.588" v="7957" actId="20577"/>
          <ac:spMkLst>
            <pc:docMk/>
            <pc:sldMk cId="2910624008" sldId="2147375592"/>
            <ac:spMk id="4" creationId="{A27CACEB-EFDC-4E71-B9FA-08C944B455EC}"/>
          </ac:spMkLst>
        </pc:spChg>
        <pc:spChg chg="mod">
          <ac:chgData name="Kishor Kukreja" userId="4b679245-99ba-4686-ad2a-c800244b8fab" providerId="ADAL" clId="{C965E74B-565A-4447-B031-34794DCAFFCE}" dt="2021-12-13T20:58:58.362" v="7985" actId="1036"/>
          <ac:spMkLst>
            <pc:docMk/>
            <pc:sldMk cId="2910624008" sldId="2147375592"/>
            <ac:spMk id="19" creationId="{7F02CE3E-EF31-4EF7-BEA3-622AF872B65B}"/>
          </ac:spMkLst>
        </pc:spChg>
        <pc:spChg chg="mod">
          <ac:chgData name="Kishor Kukreja" userId="4b679245-99ba-4686-ad2a-c800244b8fab" providerId="ADAL" clId="{C965E74B-565A-4447-B031-34794DCAFFCE}" dt="2021-12-13T20:59:12.921" v="7992" actId="20577"/>
          <ac:spMkLst>
            <pc:docMk/>
            <pc:sldMk cId="2910624008" sldId="2147375592"/>
            <ac:spMk id="25" creationId="{08A016B9-40FE-4751-9FD6-E118E8DB1758}"/>
          </ac:spMkLst>
        </pc:spChg>
        <pc:picChg chg="add mod ord">
          <ac:chgData name="Kishor Kukreja" userId="4b679245-99ba-4686-ad2a-c800244b8fab" providerId="ADAL" clId="{C965E74B-565A-4447-B031-34794DCAFFCE}" dt="2021-12-13T20:58:52.795" v="7972" actId="1036"/>
          <ac:picMkLst>
            <pc:docMk/>
            <pc:sldMk cId="2910624008" sldId="2147375592"/>
            <ac:picMk id="3" creationId="{9EEC52DE-65AE-4D53-B425-8711B9A9F772}"/>
          </ac:picMkLst>
        </pc:picChg>
        <pc:picChg chg="add mod">
          <ac:chgData name="Kishor Kukreja" userId="4b679245-99ba-4686-ad2a-c800244b8fab" providerId="ADAL" clId="{C965E74B-565A-4447-B031-34794DCAFFCE}" dt="2021-12-13T20:59:45.115" v="8004" actId="1038"/>
          <ac:picMkLst>
            <pc:docMk/>
            <pc:sldMk cId="2910624008" sldId="2147375592"/>
            <ac:picMk id="6" creationId="{58F204F5-3A6F-4D2D-808C-40C39BBE2792}"/>
          </ac:picMkLst>
        </pc:picChg>
        <pc:picChg chg="add mod">
          <ac:chgData name="Kishor Kukreja" userId="4b679245-99ba-4686-ad2a-c800244b8fab" providerId="ADAL" clId="{C965E74B-565A-4447-B031-34794DCAFFCE}" dt="2021-12-13T21:08:38.396" v="8127"/>
          <ac:picMkLst>
            <pc:docMk/>
            <pc:sldMk cId="2910624008" sldId="2147375592"/>
            <ac:picMk id="20" creationId="{53534288-149E-4B6E-9AE1-F97C73CE4E53}"/>
          </ac:picMkLst>
        </pc:picChg>
        <pc:picChg chg="del">
          <ac:chgData name="Kishor Kukreja" userId="4b679245-99ba-4686-ad2a-c800244b8fab" providerId="ADAL" clId="{C965E74B-565A-4447-B031-34794DCAFFCE}" dt="2021-12-13T20:56:58.320" v="7945" actId="478"/>
          <ac:picMkLst>
            <pc:docMk/>
            <pc:sldMk cId="2910624008" sldId="2147375592"/>
            <ac:picMk id="39" creationId="{66867F84-3961-4C47-A02A-2ACD1C7FA881}"/>
          </ac:picMkLst>
        </pc:picChg>
        <pc:picChg chg="del">
          <ac:chgData name="Kishor Kukreja" userId="4b679245-99ba-4686-ad2a-c800244b8fab" providerId="ADAL" clId="{C965E74B-565A-4447-B031-34794DCAFFCE}" dt="2021-12-13T20:59:29.305" v="7993" actId="478"/>
          <ac:picMkLst>
            <pc:docMk/>
            <pc:sldMk cId="2910624008" sldId="2147375592"/>
            <ac:picMk id="41" creationId="{D2D7D80D-C411-412B-AEC5-586704E62709}"/>
          </ac:picMkLst>
        </pc:picChg>
        <pc:picChg chg="del">
          <ac:chgData name="Kishor Kukreja" userId="4b679245-99ba-4686-ad2a-c800244b8fab" providerId="ADAL" clId="{C965E74B-565A-4447-B031-34794DCAFFCE}" dt="2021-12-13T20:58:22.731" v="7960" actId="478"/>
          <ac:picMkLst>
            <pc:docMk/>
            <pc:sldMk cId="2910624008" sldId="2147375592"/>
            <ac:picMk id="43" creationId="{D180729F-CE51-47E2-938A-FF57742054CA}"/>
          </ac:picMkLst>
        </pc:picChg>
        <pc:picChg chg="del">
          <ac:chgData name="Kishor Kukreja" userId="4b679245-99ba-4686-ad2a-c800244b8fab" providerId="ADAL" clId="{C965E74B-565A-4447-B031-34794DCAFFCE}" dt="2021-12-13T20:56:56.853" v="7943" actId="478"/>
          <ac:picMkLst>
            <pc:docMk/>
            <pc:sldMk cId="2910624008" sldId="2147375592"/>
            <ac:picMk id="53" creationId="{51517A7E-03A4-4E33-B09F-284B67CA44BE}"/>
          </ac:picMkLst>
        </pc:picChg>
        <pc:picChg chg="del">
          <ac:chgData name="Kishor Kukreja" userId="4b679245-99ba-4686-ad2a-c800244b8fab" providerId="ADAL" clId="{C965E74B-565A-4447-B031-34794DCAFFCE}" dt="2021-12-13T20:56:56.082" v="7942" actId="478"/>
          <ac:picMkLst>
            <pc:docMk/>
            <pc:sldMk cId="2910624008" sldId="2147375592"/>
            <ac:picMk id="54" creationId="{EBF8EB9E-A7C7-4CBB-ADFB-0F408C6DF2B1}"/>
          </ac:picMkLst>
        </pc:picChg>
        <pc:picChg chg="del">
          <ac:chgData name="Kishor Kukreja" userId="4b679245-99ba-4686-ad2a-c800244b8fab" providerId="ADAL" clId="{C965E74B-565A-4447-B031-34794DCAFFCE}" dt="2021-12-13T20:56:57.570" v="7944" actId="478"/>
          <ac:picMkLst>
            <pc:docMk/>
            <pc:sldMk cId="2910624008" sldId="2147375592"/>
            <ac:picMk id="55" creationId="{AE60FD77-9430-42DC-963E-C7AF3CDF6F6D}"/>
          </ac:picMkLst>
        </pc:picChg>
        <pc:picChg chg="del mod">
          <ac:chgData name="Kishor Kukreja" userId="4b679245-99ba-4686-ad2a-c800244b8fab" providerId="ADAL" clId="{C965E74B-565A-4447-B031-34794DCAFFCE}" dt="2021-12-13T21:08:37.367" v="8126" actId="478"/>
          <ac:picMkLst>
            <pc:docMk/>
            <pc:sldMk cId="2910624008" sldId="2147375592"/>
            <ac:picMk id="56" creationId="{06EC9155-9D36-4DCE-AB33-7F0FB71EFE4D}"/>
          </ac:picMkLst>
        </pc:picChg>
        <pc:cxnChg chg="mod">
          <ac:chgData name="Kishor Kukreja" userId="4b679245-99ba-4686-ad2a-c800244b8fab" providerId="ADAL" clId="{C965E74B-565A-4447-B031-34794DCAFFCE}" dt="2021-12-13T21:30:41.555" v="8607" actId="14100"/>
          <ac:cxnSpMkLst>
            <pc:docMk/>
            <pc:sldMk cId="2910624008" sldId="2147375592"/>
            <ac:cxnSpMk id="23" creationId="{FB34CB4E-20C9-4341-8ECA-6DCF7951E61E}"/>
          </ac:cxnSpMkLst>
        </pc:cxnChg>
        <pc:cxnChg chg="mod">
          <ac:chgData name="Kishor Kukreja" userId="4b679245-99ba-4686-ad2a-c800244b8fab" providerId="ADAL" clId="{C965E74B-565A-4447-B031-34794DCAFFCE}" dt="2021-12-13T21:30:39.290" v="8606" actId="14100"/>
          <ac:cxnSpMkLst>
            <pc:docMk/>
            <pc:sldMk cId="2910624008" sldId="2147375592"/>
            <ac:cxnSpMk id="24" creationId="{D9AD2E4C-5306-44AC-999A-406CB4319B58}"/>
          </ac:cxnSpMkLst>
        </pc:cxnChg>
      </pc:sldChg>
      <pc:sldChg chg="addSp delSp modSp new mod setBg chgLayout">
        <pc:chgData name="Kishor Kukreja" userId="4b679245-99ba-4686-ad2a-c800244b8fab" providerId="ADAL" clId="{C965E74B-565A-4447-B031-34794DCAFFCE}" dt="2021-12-13T21:14:56.643" v="8388" actId="26606"/>
        <pc:sldMkLst>
          <pc:docMk/>
          <pc:sldMk cId="3117493272" sldId="2147375593"/>
        </pc:sldMkLst>
        <pc:spChg chg="del">
          <ac:chgData name="Kishor Kukreja" userId="4b679245-99ba-4686-ad2a-c800244b8fab" providerId="ADAL" clId="{C965E74B-565A-4447-B031-34794DCAFFCE}" dt="2021-12-13T21:09:25.949" v="8130" actId="700"/>
          <ac:spMkLst>
            <pc:docMk/>
            <pc:sldMk cId="3117493272" sldId="2147375593"/>
            <ac:spMk id="2" creationId="{14E8AEB8-2C06-4A0C-B43C-68016BD38980}"/>
          </ac:spMkLst>
        </pc:spChg>
        <pc:spChg chg="add mod ord">
          <ac:chgData name="Kishor Kukreja" userId="4b679245-99ba-4686-ad2a-c800244b8fab" providerId="ADAL" clId="{C965E74B-565A-4447-B031-34794DCAFFCE}" dt="2021-12-13T21:14:56.643" v="8388" actId="26606"/>
          <ac:spMkLst>
            <pc:docMk/>
            <pc:sldMk cId="3117493272" sldId="2147375593"/>
            <ac:spMk id="3" creationId="{03837DEF-DC25-489B-BF9F-24A2DE297FC4}"/>
          </ac:spMkLst>
        </pc:spChg>
        <pc:spChg chg="add del">
          <ac:chgData name="Kishor Kukreja" userId="4b679245-99ba-4686-ad2a-c800244b8fab" providerId="ADAL" clId="{C965E74B-565A-4447-B031-34794DCAFFCE}" dt="2021-12-13T21:11:45.989" v="8322" actId="26606"/>
          <ac:spMkLst>
            <pc:docMk/>
            <pc:sldMk cId="3117493272" sldId="2147375593"/>
            <ac:spMk id="12" creationId="{A29398BB-6F62-472B-88B2-8D942FEBFB20}"/>
          </ac:spMkLst>
        </pc:spChg>
        <pc:spChg chg="add del">
          <ac:chgData name="Kishor Kukreja" userId="4b679245-99ba-4686-ad2a-c800244b8fab" providerId="ADAL" clId="{C965E74B-565A-4447-B031-34794DCAFFCE}" dt="2021-12-13T21:11:45.989" v="8322" actId="26606"/>
          <ac:spMkLst>
            <pc:docMk/>
            <pc:sldMk cId="3117493272" sldId="2147375593"/>
            <ac:spMk id="18" creationId="{01F1CEA4-5DA0-41E1-A743-4F227AE62B67}"/>
          </ac:spMkLst>
        </pc:spChg>
        <pc:spChg chg="add del">
          <ac:chgData name="Kishor Kukreja" userId="4b679245-99ba-4686-ad2a-c800244b8fab" providerId="ADAL" clId="{C965E74B-565A-4447-B031-34794DCAFFCE}" dt="2021-12-13T21:11:45.989" v="8322" actId="26606"/>
          <ac:spMkLst>
            <pc:docMk/>
            <pc:sldMk cId="3117493272" sldId="2147375593"/>
            <ac:spMk id="20" creationId="{07D1A722-B699-4DA0-B7AC-F06CC81AD5F2}"/>
          </ac:spMkLst>
        </pc:spChg>
        <pc:spChg chg="add del">
          <ac:chgData name="Kishor Kukreja" userId="4b679245-99ba-4686-ad2a-c800244b8fab" providerId="ADAL" clId="{C965E74B-565A-4447-B031-34794DCAFFCE}" dt="2021-12-13T21:14:56.643" v="8388" actId="26606"/>
          <ac:spMkLst>
            <pc:docMk/>
            <pc:sldMk cId="3117493272" sldId="2147375593"/>
            <ac:spMk id="22" creationId="{1ED8053C-AF28-403A-90F2-67A100EDECE4}"/>
          </ac:spMkLst>
        </pc:spChg>
        <pc:spChg chg="add del">
          <ac:chgData name="Kishor Kukreja" userId="4b679245-99ba-4686-ad2a-c800244b8fab" providerId="ADAL" clId="{C965E74B-565A-4447-B031-34794DCAFFCE}" dt="2021-12-13T21:14:56.643" v="8388" actId="26606"/>
          <ac:spMkLst>
            <pc:docMk/>
            <pc:sldMk cId="3117493272" sldId="2147375593"/>
            <ac:spMk id="23" creationId="{10BCDCE7-03A4-438B-9B4A-0F5E37C4C1AF}"/>
          </ac:spMkLst>
        </pc:spChg>
        <pc:spChg chg="add">
          <ac:chgData name="Kishor Kukreja" userId="4b679245-99ba-4686-ad2a-c800244b8fab" providerId="ADAL" clId="{C965E74B-565A-4447-B031-34794DCAFFCE}" dt="2021-12-13T21:14:56.643" v="8388" actId="26606"/>
          <ac:spMkLst>
            <pc:docMk/>
            <pc:sldMk cId="3117493272" sldId="2147375593"/>
            <ac:spMk id="71" creationId="{B4D3D850-2041-4B7C-AED9-54DA385B14F7}"/>
          </ac:spMkLst>
        </pc:spChg>
        <pc:spChg chg="add">
          <ac:chgData name="Kishor Kukreja" userId="4b679245-99ba-4686-ad2a-c800244b8fab" providerId="ADAL" clId="{C965E74B-565A-4447-B031-34794DCAFFCE}" dt="2021-12-13T21:14:56.643" v="8388" actId="26606"/>
          <ac:spMkLst>
            <pc:docMk/>
            <pc:sldMk cId="3117493272" sldId="2147375593"/>
            <ac:spMk id="73" creationId="{5707F116-8EC0-4822-9067-186AC8C96EB8}"/>
          </ac:spMkLst>
        </pc:spChg>
        <pc:spChg chg="add">
          <ac:chgData name="Kishor Kukreja" userId="4b679245-99ba-4686-ad2a-c800244b8fab" providerId="ADAL" clId="{C965E74B-565A-4447-B031-34794DCAFFCE}" dt="2021-12-13T21:14:56.643" v="8388" actId="26606"/>
          <ac:spMkLst>
            <pc:docMk/>
            <pc:sldMk cId="3117493272" sldId="2147375593"/>
            <ac:spMk id="75" creationId="{49F1A7E4-819D-4D21-8E8B-32671A9F9853}"/>
          </ac:spMkLst>
        </pc:spChg>
        <pc:spChg chg="add">
          <ac:chgData name="Kishor Kukreja" userId="4b679245-99ba-4686-ad2a-c800244b8fab" providerId="ADAL" clId="{C965E74B-565A-4447-B031-34794DCAFFCE}" dt="2021-12-13T21:14:56.643" v="8388" actId="26606"/>
          <ac:spMkLst>
            <pc:docMk/>
            <pc:sldMk cId="3117493272" sldId="2147375593"/>
            <ac:spMk id="77" creationId="{CB64814D-A361-44E1-8D97-B83E41C8B280}"/>
          </ac:spMkLst>
        </pc:spChg>
        <pc:spChg chg="add">
          <ac:chgData name="Kishor Kukreja" userId="4b679245-99ba-4686-ad2a-c800244b8fab" providerId="ADAL" clId="{C965E74B-565A-4447-B031-34794DCAFFCE}" dt="2021-12-13T21:14:56.643" v="8388" actId="26606"/>
          <ac:spMkLst>
            <pc:docMk/>
            <pc:sldMk cId="3117493272" sldId="2147375593"/>
            <ac:spMk id="79" creationId="{852A6879-032A-4946-9CCA-44D38BEDF5F5}"/>
          </ac:spMkLst>
        </pc:spChg>
        <pc:spChg chg="add">
          <ac:chgData name="Kishor Kukreja" userId="4b679245-99ba-4686-ad2a-c800244b8fab" providerId="ADAL" clId="{C965E74B-565A-4447-B031-34794DCAFFCE}" dt="2021-12-13T21:14:56.643" v="8388" actId="26606"/>
          <ac:spMkLst>
            <pc:docMk/>
            <pc:sldMk cId="3117493272" sldId="2147375593"/>
            <ac:spMk id="81" creationId="{56AB08D7-F0FB-4965-B730-8B874214C283}"/>
          </ac:spMkLst>
        </pc:spChg>
        <pc:spChg chg="add">
          <ac:chgData name="Kishor Kukreja" userId="4b679245-99ba-4686-ad2a-c800244b8fab" providerId="ADAL" clId="{C965E74B-565A-4447-B031-34794DCAFFCE}" dt="2021-12-13T21:14:56.643" v="8388" actId="26606"/>
          <ac:spMkLst>
            <pc:docMk/>
            <pc:sldMk cId="3117493272" sldId="2147375593"/>
            <ac:spMk id="83" creationId="{148D9297-49FA-43ED-AC6B-E2F153B3A5A6}"/>
          </ac:spMkLst>
        </pc:spChg>
        <pc:spChg chg="add">
          <ac:chgData name="Kishor Kukreja" userId="4b679245-99ba-4686-ad2a-c800244b8fab" providerId="ADAL" clId="{C965E74B-565A-4447-B031-34794DCAFFCE}" dt="2021-12-13T21:14:56.643" v="8388" actId="26606"/>
          <ac:spMkLst>
            <pc:docMk/>
            <pc:sldMk cId="3117493272" sldId="2147375593"/>
            <ac:spMk id="85" creationId="{77C2D141-F73C-4BF3-B3DF-D3BA74B8BE29}"/>
          </ac:spMkLst>
        </pc:spChg>
        <pc:spChg chg="add">
          <ac:chgData name="Kishor Kukreja" userId="4b679245-99ba-4686-ad2a-c800244b8fab" providerId="ADAL" clId="{C965E74B-565A-4447-B031-34794DCAFFCE}" dt="2021-12-13T21:14:56.643" v="8388" actId="26606"/>
          <ac:spMkLst>
            <pc:docMk/>
            <pc:sldMk cId="3117493272" sldId="2147375593"/>
            <ac:spMk id="87" creationId="{DB456AC5-2DFE-4E00-B0CE-30AAA2A3D676}"/>
          </ac:spMkLst>
        </pc:spChg>
        <pc:spChg chg="add">
          <ac:chgData name="Kishor Kukreja" userId="4b679245-99ba-4686-ad2a-c800244b8fab" providerId="ADAL" clId="{C965E74B-565A-4447-B031-34794DCAFFCE}" dt="2021-12-13T21:14:56.643" v="8388" actId="26606"/>
          <ac:spMkLst>
            <pc:docMk/>
            <pc:sldMk cId="3117493272" sldId="2147375593"/>
            <ac:spMk id="89" creationId="{D3EB41F8-8868-4FC3-8553-94FEE5A8B818}"/>
          </ac:spMkLst>
        </pc:spChg>
        <pc:spChg chg="add">
          <ac:chgData name="Kishor Kukreja" userId="4b679245-99ba-4686-ad2a-c800244b8fab" providerId="ADAL" clId="{C965E74B-565A-4447-B031-34794DCAFFCE}" dt="2021-12-13T21:14:56.643" v="8388" actId="26606"/>
          <ac:spMkLst>
            <pc:docMk/>
            <pc:sldMk cId="3117493272" sldId="2147375593"/>
            <ac:spMk id="91" creationId="{39671820-9967-4806-B0A7-4944C2A4A5F1}"/>
          </ac:spMkLst>
        </pc:spChg>
        <pc:grpChg chg="add del">
          <ac:chgData name="Kishor Kukreja" userId="4b679245-99ba-4686-ad2a-c800244b8fab" providerId="ADAL" clId="{C965E74B-565A-4447-B031-34794DCAFFCE}" dt="2021-12-13T21:11:45.989" v="8322" actId="26606"/>
          <ac:grpSpMkLst>
            <pc:docMk/>
            <pc:sldMk cId="3117493272" sldId="2147375593"/>
            <ac:grpSpMk id="14" creationId="{A3C0D298-47AC-4912-8022-B969E5732CB9}"/>
          </ac:grpSpMkLst>
        </pc:grpChg>
        <pc:picChg chg="add mod ord">
          <ac:chgData name="Kishor Kukreja" userId="4b679245-99ba-4686-ad2a-c800244b8fab" providerId="ADAL" clId="{C965E74B-565A-4447-B031-34794DCAFFCE}" dt="2021-12-13T21:14:56.643" v="8388" actId="26606"/>
          <ac:picMkLst>
            <pc:docMk/>
            <pc:sldMk cId="3117493272" sldId="2147375593"/>
            <ac:picMk id="5" creationId="{3F455DF6-D4AE-4F69-BD8B-347E82644E84}"/>
          </ac:picMkLst>
        </pc:picChg>
        <pc:picChg chg="add mod">
          <ac:chgData name="Kishor Kukreja" userId="4b679245-99ba-4686-ad2a-c800244b8fab" providerId="ADAL" clId="{C965E74B-565A-4447-B031-34794DCAFFCE}" dt="2021-12-13T21:14:56.643" v="8388" actId="26606"/>
          <ac:picMkLst>
            <pc:docMk/>
            <pc:sldMk cId="3117493272" sldId="2147375593"/>
            <ac:picMk id="7" creationId="{62676932-7793-4772-8CE9-CBA00B3987C5}"/>
          </ac:picMkLst>
        </pc:picChg>
        <pc:picChg chg="add mod">
          <ac:chgData name="Kishor Kukreja" userId="4b679245-99ba-4686-ad2a-c800244b8fab" providerId="ADAL" clId="{C965E74B-565A-4447-B031-34794DCAFFCE}" dt="2021-12-13T21:14:56.643" v="8388" actId="26606"/>
          <ac:picMkLst>
            <pc:docMk/>
            <pc:sldMk cId="3117493272" sldId="2147375593"/>
            <ac:picMk id="10242" creationId="{CA586478-1C16-4F47-8BA5-7A27DB4D1D8D}"/>
          </ac:picMkLst>
        </pc:picChg>
      </pc:sldChg>
      <pc:sldChg chg="addSp delSp modSp add mod">
        <pc:chgData name="Kishor Kukreja" userId="4b679245-99ba-4686-ad2a-c800244b8fab" providerId="ADAL" clId="{C965E74B-565A-4447-B031-34794DCAFFCE}" dt="2021-12-13T21:22:24.291" v="8463" actId="1076"/>
        <pc:sldMkLst>
          <pc:docMk/>
          <pc:sldMk cId="2732782769" sldId="2147375594"/>
        </pc:sldMkLst>
        <pc:spChg chg="mod">
          <ac:chgData name="Kishor Kukreja" userId="4b679245-99ba-4686-ad2a-c800244b8fab" providerId="ADAL" clId="{C965E74B-565A-4447-B031-34794DCAFFCE}" dt="2021-12-13T21:22:24.291" v="8463" actId="1076"/>
          <ac:spMkLst>
            <pc:docMk/>
            <pc:sldMk cId="2732782769" sldId="2147375594"/>
            <ac:spMk id="3" creationId="{2548CBD9-BE72-4CF0-B14F-11EBDD5687BA}"/>
          </ac:spMkLst>
        </pc:spChg>
        <pc:spChg chg="mod">
          <ac:chgData name="Kishor Kukreja" userId="4b679245-99ba-4686-ad2a-c800244b8fab" providerId="ADAL" clId="{C965E74B-565A-4447-B031-34794DCAFFCE}" dt="2021-12-13T21:17:08.946" v="8431" actId="20577"/>
          <ac:spMkLst>
            <pc:docMk/>
            <pc:sldMk cId="2732782769" sldId="2147375594"/>
            <ac:spMk id="4" creationId="{DB2028FE-FC7A-4899-B507-56DA4CB7B763}"/>
          </ac:spMkLst>
        </pc:spChg>
        <pc:picChg chg="del">
          <ac:chgData name="Kishor Kukreja" userId="4b679245-99ba-4686-ad2a-c800244b8fab" providerId="ADAL" clId="{C965E74B-565A-4447-B031-34794DCAFFCE}" dt="2021-12-13T21:16:16.164" v="8417" actId="478"/>
          <ac:picMkLst>
            <pc:docMk/>
            <pc:sldMk cId="2732782769" sldId="2147375594"/>
            <ac:picMk id="5" creationId="{EA921F57-0553-4076-B54E-64F8E40CA32A}"/>
          </ac:picMkLst>
        </pc:picChg>
        <pc:picChg chg="add mod">
          <ac:chgData name="Kishor Kukreja" userId="4b679245-99ba-4686-ad2a-c800244b8fab" providerId="ADAL" clId="{C965E74B-565A-4447-B031-34794DCAFFCE}" dt="2021-12-13T21:16:29.556" v="8421"/>
          <ac:picMkLst>
            <pc:docMk/>
            <pc:sldMk cId="2732782769" sldId="2147375594"/>
            <ac:picMk id="6" creationId="{B7FCF756-8E92-414A-9DD7-E16FAF1E4549}"/>
          </ac:picMkLst>
        </pc:picChg>
      </pc:sldChg>
      <pc:sldMasterChg chg="addSldLayout delSldLayout">
        <pc:chgData name="Kishor Kukreja" userId="4b679245-99ba-4686-ad2a-c800244b8fab" providerId="ADAL" clId="{C965E74B-565A-4447-B031-34794DCAFFCE}" dt="2021-12-13T20:39:14.595" v="7494" actId="47"/>
        <pc:sldMasterMkLst>
          <pc:docMk/>
          <pc:sldMasterMk cId="2137920801" sldId="2147483749"/>
        </pc:sldMasterMkLst>
        <pc:sldLayoutChg chg="del">
          <pc:chgData name="Kishor Kukreja" userId="4b679245-99ba-4686-ad2a-c800244b8fab" providerId="ADAL" clId="{C965E74B-565A-4447-B031-34794DCAFFCE}" dt="2021-12-13T18:16:54.238" v="2948" actId="47"/>
          <pc:sldLayoutMkLst>
            <pc:docMk/>
            <pc:sldMasterMk cId="2137920801" sldId="2147483749"/>
            <pc:sldLayoutMk cId="198698635" sldId="2147483761"/>
          </pc:sldLayoutMkLst>
        </pc:sldLayoutChg>
        <pc:sldLayoutChg chg="del">
          <pc:chgData name="Kishor Kukreja" userId="4b679245-99ba-4686-ad2a-c800244b8fab" providerId="ADAL" clId="{C965E74B-565A-4447-B031-34794DCAFFCE}" dt="2021-12-13T20:15:52.628" v="6733" actId="47"/>
          <pc:sldLayoutMkLst>
            <pc:docMk/>
            <pc:sldMasterMk cId="2137920801" sldId="2147483749"/>
            <pc:sldLayoutMk cId="623143638" sldId="2147483762"/>
          </pc:sldLayoutMkLst>
        </pc:sldLayoutChg>
        <pc:sldLayoutChg chg="del">
          <pc:chgData name="Kishor Kukreja" userId="4b679245-99ba-4686-ad2a-c800244b8fab" providerId="ADAL" clId="{C965E74B-565A-4447-B031-34794DCAFFCE}" dt="2021-12-13T20:39:14.595" v="7494" actId="47"/>
          <pc:sldLayoutMkLst>
            <pc:docMk/>
            <pc:sldMasterMk cId="2137920801" sldId="2147483749"/>
            <pc:sldLayoutMk cId="523752447" sldId="2147483763"/>
          </pc:sldLayoutMkLst>
        </pc:sldLayoutChg>
        <pc:sldLayoutChg chg="del">
          <pc:chgData name="Kishor Kukreja" userId="4b679245-99ba-4686-ad2a-c800244b8fab" providerId="ADAL" clId="{C965E74B-565A-4447-B031-34794DCAFFCE}" dt="2021-12-13T20:34:14.946" v="7362" actId="47"/>
          <pc:sldLayoutMkLst>
            <pc:docMk/>
            <pc:sldMasterMk cId="2137920801" sldId="2147483749"/>
            <pc:sldLayoutMk cId="3373675143" sldId="2147483766"/>
          </pc:sldLayoutMkLst>
        </pc:sldLayoutChg>
        <pc:sldLayoutChg chg="del">
          <pc:chgData name="Kishor Kukreja" userId="4b679245-99ba-4686-ad2a-c800244b8fab" providerId="ADAL" clId="{C965E74B-565A-4447-B031-34794DCAFFCE}" dt="2021-12-13T16:51:22.545" v="147" actId="47"/>
          <pc:sldLayoutMkLst>
            <pc:docMk/>
            <pc:sldMasterMk cId="2137920801" sldId="2147483749"/>
            <pc:sldLayoutMk cId="401139571" sldId="2147483769"/>
          </pc:sldLayoutMkLst>
        </pc:sldLayoutChg>
        <pc:sldLayoutChg chg="add del">
          <pc:chgData name="Kishor Kukreja" userId="4b679245-99ba-4686-ad2a-c800244b8fab" providerId="ADAL" clId="{C965E74B-565A-4447-B031-34794DCAFFCE}" dt="2021-12-13T16:45:07.547" v="9" actId="47"/>
          <pc:sldLayoutMkLst>
            <pc:docMk/>
            <pc:sldMasterMk cId="2137920801" sldId="2147483749"/>
            <pc:sldLayoutMk cId="4201553652" sldId="2147483770"/>
          </pc:sldLayoutMkLst>
        </pc:sldLayoutChg>
        <pc:sldLayoutChg chg="del">
          <pc:chgData name="Kishor Kukreja" userId="4b679245-99ba-4686-ad2a-c800244b8fab" providerId="ADAL" clId="{C965E74B-565A-4447-B031-34794DCAFFCE}" dt="2021-12-13T18:10:57.604" v="2883" actId="47"/>
          <pc:sldLayoutMkLst>
            <pc:docMk/>
            <pc:sldMasterMk cId="2137920801" sldId="2147483749"/>
            <pc:sldLayoutMk cId="2099276406" sldId="214748377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Volume</c:v>
                </c:pt>
              </c:strCache>
            </c:strRef>
          </c:tx>
          <c:spPr>
            <a:ln w="25400" cap="rnd">
              <a:noFill/>
              <a:round/>
            </a:ln>
            <a:effectLst/>
          </c:spPr>
          <c:marker>
            <c:symbol val="circle"/>
            <c:size val="5"/>
            <c:spPr>
              <a:solidFill>
                <a:schemeClr val="accent1"/>
              </a:solidFill>
              <a:ln w="9525">
                <a:solidFill>
                  <a:schemeClr val="accent1"/>
                </a:solidFill>
              </a:ln>
              <a:effectLst/>
            </c:spPr>
          </c:marker>
          <c:xVal>
            <c:strRef>
              <c:f>Sheet1!$A$2:$A$12</c:f>
              <c:strCache>
                <c:ptCount val="11"/>
                <c:pt idx="0">
                  <c:v>Week 1</c:v>
                </c:pt>
                <c:pt idx="1">
                  <c:v>Week 2</c:v>
                </c:pt>
                <c:pt idx="2">
                  <c:v>Week 3</c:v>
                </c:pt>
                <c:pt idx="3">
                  <c:v>Week 4</c:v>
                </c:pt>
                <c:pt idx="4">
                  <c:v>Week 5</c:v>
                </c:pt>
                <c:pt idx="5">
                  <c:v>Week 6</c:v>
                </c:pt>
                <c:pt idx="6">
                  <c:v>Week 7</c:v>
                </c:pt>
                <c:pt idx="7">
                  <c:v>Week 8</c:v>
                </c:pt>
                <c:pt idx="8">
                  <c:v>Week 9</c:v>
                </c:pt>
                <c:pt idx="9">
                  <c:v>Week 10</c:v>
                </c:pt>
                <c:pt idx="10">
                  <c:v>Week 11</c:v>
                </c:pt>
              </c:strCache>
            </c:strRef>
          </c:xVal>
          <c:yVal>
            <c:numRef>
              <c:f>Sheet1!$B$2:$B$12</c:f>
              <c:numCache>
                <c:formatCode>General</c:formatCode>
                <c:ptCount val="11"/>
                <c:pt idx="0">
                  <c:v>84</c:v>
                </c:pt>
                <c:pt idx="1">
                  <c:v>41</c:v>
                </c:pt>
                <c:pt idx="2">
                  <c:v>28</c:v>
                </c:pt>
                <c:pt idx="3">
                  <c:v>50</c:v>
                </c:pt>
                <c:pt idx="4">
                  <c:v>85</c:v>
                </c:pt>
                <c:pt idx="5">
                  <c:v>93</c:v>
                </c:pt>
                <c:pt idx="6">
                  <c:v>99</c:v>
                </c:pt>
                <c:pt idx="7">
                  <c:v>87</c:v>
                </c:pt>
                <c:pt idx="8">
                  <c:v>82</c:v>
                </c:pt>
                <c:pt idx="9">
                  <c:v>40</c:v>
                </c:pt>
                <c:pt idx="10">
                  <c:v>39</c:v>
                </c:pt>
              </c:numCache>
            </c:numRef>
          </c:yVal>
          <c:smooth val="0"/>
          <c:extLst>
            <c:ext xmlns:c16="http://schemas.microsoft.com/office/drawing/2014/chart" uri="{C3380CC4-5D6E-409C-BE32-E72D297353CC}">
              <c16:uniqueId val="{00000000-6A34-4850-9A26-330FE1D30D0C}"/>
            </c:ext>
          </c:extLst>
        </c:ser>
        <c:ser>
          <c:idx val="1"/>
          <c:order val="1"/>
          <c:tx>
            <c:strRef>
              <c:f>Sheet1!$C$1</c:f>
              <c:strCache>
                <c:ptCount val="1"/>
                <c:pt idx="0">
                  <c:v>Price</c:v>
                </c:pt>
              </c:strCache>
            </c:strRef>
          </c:tx>
          <c:spPr>
            <a:ln w="25400" cap="rnd">
              <a:noFill/>
              <a:round/>
            </a:ln>
            <a:effectLst/>
          </c:spPr>
          <c:marker>
            <c:symbol val="circle"/>
            <c:size val="5"/>
            <c:spPr>
              <a:solidFill>
                <a:schemeClr val="accent3"/>
              </a:solidFill>
              <a:ln w="9525">
                <a:solidFill>
                  <a:schemeClr val="accent3"/>
                </a:solidFill>
              </a:ln>
              <a:effectLst/>
            </c:spPr>
          </c:marker>
          <c:xVal>
            <c:strRef>
              <c:f>Sheet1!$A$2:$A$12</c:f>
              <c:strCache>
                <c:ptCount val="11"/>
                <c:pt idx="0">
                  <c:v>Week 1</c:v>
                </c:pt>
                <c:pt idx="1">
                  <c:v>Week 2</c:v>
                </c:pt>
                <c:pt idx="2">
                  <c:v>Week 3</c:v>
                </c:pt>
                <c:pt idx="3">
                  <c:v>Week 4</c:v>
                </c:pt>
                <c:pt idx="4">
                  <c:v>Week 5</c:v>
                </c:pt>
                <c:pt idx="5">
                  <c:v>Week 6</c:v>
                </c:pt>
                <c:pt idx="6">
                  <c:v>Week 7</c:v>
                </c:pt>
                <c:pt idx="7">
                  <c:v>Week 8</c:v>
                </c:pt>
                <c:pt idx="8">
                  <c:v>Week 9</c:v>
                </c:pt>
                <c:pt idx="9">
                  <c:v>Week 10</c:v>
                </c:pt>
                <c:pt idx="10">
                  <c:v>Week 11</c:v>
                </c:pt>
              </c:strCache>
            </c:strRef>
          </c:xVal>
          <c:yVal>
            <c:numRef>
              <c:f>Sheet1!$C$2:$C$12</c:f>
              <c:numCache>
                <c:formatCode>General</c:formatCode>
                <c:ptCount val="11"/>
                <c:pt idx="0">
                  <c:v>11</c:v>
                </c:pt>
                <c:pt idx="1">
                  <c:v>14</c:v>
                </c:pt>
                <c:pt idx="2">
                  <c:v>14</c:v>
                </c:pt>
                <c:pt idx="3">
                  <c:v>11</c:v>
                </c:pt>
                <c:pt idx="4">
                  <c:v>13</c:v>
                </c:pt>
                <c:pt idx="5">
                  <c:v>14</c:v>
                </c:pt>
                <c:pt idx="6">
                  <c:v>13</c:v>
                </c:pt>
                <c:pt idx="7">
                  <c:v>11</c:v>
                </c:pt>
                <c:pt idx="8">
                  <c:v>12</c:v>
                </c:pt>
                <c:pt idx="9">
                  <c:v>12</c:v>
                </c:pt>
                <c:pt idx="10">
                  <c:v>15</c:v>
                </c:pt>
              </c:numCache>
            </c:numRef>
          </c:yVal>
          <c:smooth val="0"/>
          <c:extLst>
            <c:ext xmlns:c16="http://schemas.microsoft.com/office/drawing/2014/chart" uri="{C3380CC4-5D6E-409C-BE32-E72D297353CC}">
              <c16:uniqueId val="{00000001-6A34-4850-9A26-330FE1D30D0C}"/>
            </c:ext>
          </c:extLst>
        </c:ser>
        <c:dLbls>
          <c:showLegendKey val="0"/>
          <c:showVal val="0"/>
          <c:showCatName val="0"/>
          <c:showSerName val="0"/>
          <c:showPercent val="0"/>
          <c:showBubbleSize val="0"/>
        </c:dLbls>
        <c:axId val="248703055"/>
        <c:axId val="248701391"/>
      </c:scatterChart>
      <c:valAx>
        <c:axId val="2487030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48701391"/>
        <c:crosses val="autoZero"/>
        <c:crossBetween val="midCat"/>
      </c:valAx>
      <c:valAx>
        <c:axId val="24870139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48703055"/>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2-13T18:59:54.478" idx="1">
    <p:pos x="5497" y="1191"/>
    <p:text>Equation Estimated:
SALES_VOLUME ~ INTERCEPT + 
a1*CURRENT_PRICE+
a2*WEEK+
a3*WEEK_OF_MONTH+
a4*MONTH+
a5*YEAR_2015+
a6*YEAR_2016+
a7*ORIGINAL_PRICE+
a8*PREVIOUS_PRICE+
a9*WEEK_SIN365_1+
a10*WEEK_COS365_1+
a11*MONTH_SIN365_1+
a12*MONTH_COS365_1+
a13*IS_MONTH_START+
a14*IS_MONTH_END+
a15*IS_YEAR_START+
a16*IS_YEAR_END+
a17*IS_QUARTER_START+
a18*IS_QUARTER_END + 
a19*MAX_COST+
a20*COUNTRY_A+
a21*COUNTRY_B+
a22*CHANNEL_STORES+
a23*CHANNEL_ONLINE'</p:text>
    <p:extLst>
      <p:ext uri="{C676402C-5697-4E1C-873F-D02D1690AC5C}">
        <p15:threadingInfo xmlns:p15="http://schemas.microsoft.com/office/powerpoint/2012/main" timeZoneBias="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60856">
              <a:spcAft>
                <a:spcPts val="350"/>
              </a:spcAft>
              <a:defRPr/>
            </a:pPr>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41652"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652"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537B169-AC9A-4404-BB95-3807FE001DA7}" type="datetime1">
              <a:rPr lang="en-US" smtClean="0">
                <a:solidFill>
                  <a:prstClr val="black"/>
                </a:solidFill>
              </a:rPr>
              <a:pPr/>
              <a:t>12/13/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85744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gf301c4a188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 name="Google Shape;79;gf301c4a188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617454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13100-6B0C-45D9-BA2E-55FA95E0A033}"/>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2F2767B0-4C6A-47FD-81E9-2C5D8ACE77A8}"/>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83562BF-C2A8-4D36-8079-111C58C18BF2}"/>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5" name="Footer Placeholder 4">
            <a:extLst>
              <a:ext uri="{FF2B5EF4-FFF2-40B4-BE49-F238E27FC236}">
                <a16:creationId xmlns:a16="http://schemas.microsoft.com/office/drawing/2014/main" id="{6B1FD71E-4579-476F-8162-79BEB55CF29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3A314C8-E8D9-4F8A-ABB0-DA3206FE9A28}"/>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728068546"/>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8E41C-F555-452D-99E4-FCE5477C75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C400196-9106-407E-8DE7-23814EB25B4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4F29DE5-D023-4959-94DA-383F40CC74A2}"/>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5" name="Footer Placeholder 4">
            <a:extLst>
              <a:ext uri="{FF2B5EF4-FFF2-40B4-BE49-F238E27FC236}">
                <a16:creationId xmlns:a16="http://schemas.microsoft.com/office/drawing/2014/main" id="{022B1F2B-43DF-453A-87BB-21F17257CB6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4E576F-1824-49C7-8742-41B222797DCC}"/>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28380853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5B5D24-1737-4F82-ACDB-58DFE7D341B0}"/>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40AC30F-7E23-498A-BF83-434A6A6B087B}"/>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6428487-E800-4209-87DE-73B4E299AE92}"/>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5" name="Footer Placeholder 4">
            <a:extLst>
              <a:ext uri="{FF2B5EF4-FFF2-40B4-BE49-F238E27FC236}">
                <a16:creationId xmlns:a16="http://schemas.microsoft.com/office/drawing/2014/main" id="{98FC2A79-FD2C-48BC-9A19-F9EDF591E0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8C7CAE-B775-4824-8846-417EACB83085}"/>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256508085"/>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vider Slide Numbered">
    <p:bg>
      <p:bgPr>
        <a:solidFill>
          <a:srgbClr val="FFC000"/>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612F94F4-D5FD-C444-B87B-FA0780162E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0"/>
            <a:ext cx="9144000" cy="5143500"/>
          </a:xfrm>
          <a:prstGeom prst="rect">
            <a:avLst/>
          </a:prstGeom>
        </p:spPr>
      </p:pic>
      <p:sp>
        <p:nvSpPr>
          <p:cNvPr id="10" name="Text Placeholder 9">
            <a:extLst>
              <a:ext uri="{FF2B5EF4-FFF2-40B4-BE49-F238E27FC236}">
                <a16:creationId xmlns:a16="http://schemas.microsoft.com/office/drawing/2014/main" id="{D5BB2DF0-100F-9842-A143-F7EB4F259A7C}"/>
              </a:ext>
            </a:extLst>
          </p:cNvPr>
          <p:cNvSpPr>
            <a:spLocks noGrp="1"/>
          </p:cNvSpPr>
          <p:nvPr>
            <p:ph type="body" sz="quarter" idx="12" hasCustomPrompt="1"/>
          </p:nvPr>
        </p:nvSpPr>
        <p:spPr>
          <a:xfrm>
            <a:off x="450850" y="3098023"/>
            <a:ext cx="1346200" cy="1361911"/>
          </a:xfrm>
          <a:prstGeom prst="rect">
            <a:avLst/>
          </a:prstGeom>
        </p:spPr>
        <p:txBody>
          <a:bodyPr anchor="b">
            <a:spAutoFit/>
          </a:bodyPr>
          <a:lstStyle>
            <a:lvl1pPr marL="0" indent="0">
              <a:lnSpc>
                <a:spcPct val="100000"/>
              </a:lnSpc>
              <a:buNone/>
              <a:defRPr sz="8250" b="1">
                <a:solidFill>
                  <a:schemeClr val="bg1"/>
                </a:solidFill>
                <a:latin typeface="+mn-lt"/>
              </a:defRPr>
            </a:lvl1pPr>
            <a:lvl2pPr>
              <a:defRPr sz="8250" b="1"/>
            </a:lvl2pPr>
            <a:lvl3pPr>
              <a:defRPr sz="8250" b="1"/>
            </a:lvl3pPr>
            <a:lvl4pPr>
              <a:defRPr sz="8250" b="1"/>
            </a:lvl4pPr>
            <a:lvl5pPr>
              <a:defRPr sz="8250" b="1"/>
            </a:lvl5pPr>
          </a:lstStyle>
          <a:p>
            <a:pPr lvl="0"/>
            <a:r>
              <a:rPr lang="en-GB"/>
              <a:t>00</a:t>
            </a:r>
            <a:endParaRPr lang="en-US"/>
          </a:p>
        </p:txBody>
      </p:sp>
      <p:sp>
        <p:nvSpPr>
          <p:cNvPr id="11" name="Title 1">
            <a:extLst>
              <a:ext uri="{FF2B5EF4-FFF2-40B4-BE49-F238E27FC236}">
                <a16:creationId xmlns:a16="http://schemas.microsoft.com/office/drawing/2014/main" id="{18FE2173-6A2C-48AB-A6E9-5E80F98BCAB4}"/>
              </a:ext>
            </a:extLst>
          </p:cNvPr>
          <p:cNvSpPr>
            <a:spLocks noGrp="1"/>
          </p:cNvSpPr>
          <p:nvPr>
            <p:ph type="title" hasCustomPrompt="1"/>
          </p:nvPr>
        </p:nvSpPr>
        <p:spPr>
          <a:xfrm>
            <a:off x="1797050" y="3591568"/>
            <a:ext cx="6798072" cy="507831"/>
          </a:xfrm>
          <a:prstGeom prst="rect">
            <a:avLst/>
          </a:prstGeom>
          <a:noFill/>
        </p:spPr>
        <p:txBody>
          <a:bodyPr>
            <a:spAutoFit/>
          </a:bodyPr>
          <a:lstStyle>
            <a:lvl1pPr>
              <a:defRPr lang="en-US" sz="2700" b="1" dirty="0">
                <a:latin typeface="+mn-lt"/>
              </a:defRPr>
            </a:lvl1pPr>
          </a:lstStyle>
          <a:p>
            <a:pPr lvl="0">
              <a:lnSpc>
                <a:spcPct val="100000"/>
              </a:lnSpc>
            </a:pPr>
            <a:r>
              <a:rPr lang="en-US"/>
              <a:t>Slide Divider with Title in maximum two lines</a:t>
            </a:r>
          </a:p>
        </p:txBody>
      </p:sp>
    </p:spTree>
    <p:extLst>
      <p:ext uri="{BB962C8B-B14F-4D97-AF65-F5344CB8AC3E}">
        <p14:creationId xmlns:p14="http://schemas.microsoft.com/office/powerpoint/2010/main" val="39877876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takeholders chart structure">
    <p:bg>
      <p:bgPr>
        <a:solidFill>
          <a:schemeClr val="bg2">
            <a:alpha val="40000"/>
          </a:schemeClr>
        </a:solidFill>
        <a:effectLst/>
      </p:bgPr>
    </p:bg>
    <p:spTree>
      <p:nvGrpSpPr>
        <p:cNvPr id="1" name=""/>
        <p:cNvGrpSpPr/>
        <p:nvPr/>
      </p:nvGrpSpPr>
      <p:grpSpPr>
        <a:xfrm>
          <a:off x="0" y="0"/>
          <a:ext cx="0" cy="0"/>
          <a:chOff x="0" y="0"/>
          <a:chExt cx="0" cy="0"/>
        </a:xfrm>
      </p:grpSpPr>
      <p:cxnSp>
        <p:nvCxnSpPr>
          <p:cNvPr id="89" name="Straight Connector 88">
            <a:extLst>
              <a:ext uri="{FF2B5EF4-FFF2-40B4-BE49-F238E27FC236}">
                <a16:creationId xmlns:a16="http://schemas.microsoft.com/office/drawing/2014/main" id="{35D85233-F60E-624E-A783-92937421B2FD}"/>
              </a:ext>
            </a:extLst>
          </p:cNvPr>
          <p:cNvCxnSpPr>
            <a:cxnSpLocks/>
          </p:cNvCxnSpPr>
          <p:nvPr/>
        </p:nvCxnSpPr>
        <p:spPr>
          <a:xfrm flipH="1" flipV="1">
            <a:off x="1639235" y="872400"/>
            <a:ext cx="6225" cy="35"/>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5BEAC6F4-2358-8945-9692-77054259F9D5}"/>
              </a:ext>
            </a:extLst>
          </p:cNvPr>
          <p:cNvSpPr>
            <a:spLocks noGrp="1"/>
          </p:cNvSpPr>
          <p:nvPr>
            <p:ph type="body" sz="half" idx="25" hasCustomPrompt="1"/>
          </p:nvPr>
        </p:nvSpPr>
        <p:spPr>
          <a:xfrm>
            <a:off x="456497" y="903032"/>
            <a:ext cx="8146959" cy="392415"/>
          </a:xfrm>
          <a:prstGeom prst="rect">
            <a:avLst/>
          </a:prstGeom>
        </p:spPr>
        <p:txBody>
          <a:bodyPr>
            <a:spAutoFit/>
          </a:bodyPr>
          <a:lstStyle>
            <a:lvl1pPr marL="0" indent="0">
              <a:lnSpc>
                <a:spcPct val="100000"/>
              </a:lnSpc>
              <a:buNone/>
              <a:defRPr sz="1950" b="0">
                <a:solidFill>
                  <a:schemeClr val="tx1"/>
                </a:solidFill>
                <a:latin typeface="+mn-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Sub Title that describes the image.</a:t>
            </a:r>
          </a:p>
        </p:txBody>
      </p:sp>
      <p:sp>
        <p:nvSpPr>
          <p:cNvPr id="30" name="Title 1">
            <a:extLst>
              <a:ext uri="{FF2B5EF4-FFF2-40B4-BE49-F238E27FC236}">
                <a16:creationId xmlns:a16="http://schemas.microsoft.com/office/drawing/2014/main" id="{F274C6F3-7207-4444-B514-67026B20162D}"/>
              </a:ext>
            </a:extLst>
          </p:cNvPr>
          <p:cNvSpPr>
            <a:spLocks noGrp="1"/>
          </p:cNvSpPr>
          <p:nvPr>
            <p:ph type="title"/>
          </p:nvPr>
        </p:nvSpPr>
        <p:spPr>
          <a:xfrm>
            <a:off x="454023" y="362458"/>
            <a:ext cx="8141098" cy="507831"/>
          </a:xfrm>
          <a:prstGeom prst="rect">
            <a:avLst/>
          </a:prstGeom>
          <a:noFill/>
        </p:spPr>
        <p:txBody>
          <a:bodyPr>
            <a:spAutoFit/>
          </a:bodyPr>
          <a:lstStyle>
            <a:lvl1pPr>
              <a:defRPr lang="en-IN" sz="2700" b="1" dirty="0">
                <a:latin typeface="+mn-lt"/>
              </a:defRPr>
            </a:lvl1pPr>
          </a:lstStyle>
          <a:p>
            <a:pPr lvl="0">
              <a:lnSpc>
                <a:spcPct val="100000"/>
              </a:lnSpc>
            </a:pPr>
            <a:r>
              <a:rPr lang="en-US"/>
              <a:t>Click to edit Master title style</a:t>
            </a:r>
            <a:endParaRPr lang="en-IN"/>
          </a:p>
        </p:txBody>
      </p:sp>
      <p:sp>
        <p:nvSpPr>
          <p:cNvPr id="20" name="Rounded Rectangle 22">
            <a:extLst>
              <a:ext uri="{FF2B5EF4-FFF2-40B4-BE49-F238E27FC236}">
                <a16:creationId xmlns:a16="http://schemas.microsoft.com/office/drawing/2014/main" id="{9107712D-9CD1-4EFB-B209-9B155409C7C1}"/>
              </a:ext>
            </a:extLst>
          </p:cNvPr>
          <p:cNvSpPr/>
          <p:nvPr/>
        </p:nvSpPr>
        <p:spPr>
          <a:xfrm>
            <a:off x="550534" y="2058592"/>
            <a:ext cx="4013132" cy="2601515"/>
          </a:xfrm>
          <a:prstGeom prst="roundRect">
            <a:avLst>
              <a:gd name="adj" fmla="val 3175"/>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350">
              <a:solidFill>
                <a:schemeClr val="tx1"/>
              </a:solidFill>
              <a:latin typeface="+mn-lt"/>
              <a:ea typeface="Open Sans" panose="020B0606030504020204" pitchFamily="34" charset="0"/>
              <a:cs typeface="Open Sans" panose="020B0606030504020204" pitchFamily="34" charset="0"/>
            </a:endParaRPr>
          </a:p>
        </p:txBody>
      </p:sp>
      <p:sp>
        <p:nvSpPr>
          <p:cNvPr id="21" name="Rounded Rectangle 23">
            <a:extLst>
              <a:ext uri="{FF2B5EF4-FFF2-40B4-BE49-F238E27FC236}">
                <a16:creationId xmlns:a16="http://schemas.microsoft.com/office/drawing/2014/main" id="{F1E9D45D-3C2A-4064-BE8F-87DD154B2AD2}"/>
              </a:ext>
            </a:extLst>
          </p:cNvPr>
          <p:cNvSpPr/>
          <p:nvPr/>
        </p:nvSpPr>
        <p:spPr>
          <a:xfrm>
            <a:off x="4641838" y="2058592"/>
            <a:ext cx="3966233" cy="2601515"/>
          </a:xfrm>
          <a:prstGeom prst="roundRect">
            <a:avLst>
              <a:gd name="adj" fmla="val 288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350">
              <a:solidFill>
                <a:schemeClr val="tx1"/>
              </a:solidFill>
              <a:latin typeface="+mn-lt"/>
              <a:ea typeface="Open Sans" panose="020B0606030504020204" pitchFamily="34" charset="0"/>
              <a:cs typeface="Open Sans" panose="020B0606030504020204" pitchFamily="34" charset="0"/>
            </a:endParaRPr>
          </a:p>
        </p:txBody>
      </p:sp>
      <p:sp>
        <p:nvSpPr>
          <p:cNvPr id="29" name="Text Placeholder 2">
            <a:extLst>
              <a:ext uri="{FF2B5EF4-FFF2-40B4-BE49-F238E27FC236}">
                <a16:creationId xmlns:a16="http://schemas.microsoft.com/office/drawing/2014/main" id="{11400CDA-A3DA-43A3-9170-62364AF260B1}"/>
              </a:ext>
            </a:extLst>
          </p:cNvPr>
          <p:cNvSpPr>
            <a:spLocks noGrp="1"/>
          </p:cNvSpPr>
          <p:nvPr>
            <p:ph type="body" sz="quarter" idx="14"/>
          </p:nvPr>
        </p:nvSpPr>
        <p:spPr>
          <a:xfrm>
            <a:off x="550533" y="1457029"/>
            <a:ext cx="8042934" cy="476918"/>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0000" tIns="46800" rIns="90000" bIns="46800" anchor="ctr">
            <a:noAutofit/>
          </a:bodyPr>
          <a:lstStyle>
            <a:lvl1pPr marL="0" indent="0" algn="l">
              <a:lnSpc>
                <a:spcPct val="100000"/>
              </a:lnSpc>
              <a:buNone/>
              <a:defRPr sz="1200" b="0">
                <a:solidFill>
                  <a:schemeClr val="tx1"/>
                </a:solidFill>
                <a:latin typeface="+mn-lt"/>
                <a:ea typeface="Open Sans" panose="020B0606030504020204" pitchFamily="34" charset="0"/>
                <a:cs typeface="Open Sans" panose="020B0606030504020204" pitchFamily="34" charset="0"/>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US"/>
              <a:t>Click to edit Master text styles</a:t>
            </a:r>
          </a:p>
        </p:txBody>
      </p:sp>
      <p:sp>
        <p:nvSpPr>
          <p:cNvPr id="31" name="Text Placeholder 2">
            <a:extLst>
              <a:ext uri="{FF2B5EF4-FFF2-40B4-BE49-F238E27FC236}">
                <a16:creationId xmlns:a16="http://schemas.microsoft.com/office/drawing/2014/main" id="{1B7598BF-B756-4258-A753-99B23E5D4C24}"/>
              </a:ext>
            </a:extLst>
          </p:cNvPr>
          <p:cNvSpPr>
            <a:spLocks noGrp="1"/>
          </p:cNvSpPr>
          <p:nvPr>
            <p:ph type="body" sz="quarter" idx="26" hasCustomPrompt="1"/>
          </p:nvPr>
        </p:nvSpPr>
        <p:spPr>
          <a:xfrm>
            <a:off x="674200" y="2162190"/>
            <a:ext cx="3766500" cy="279180"/>
          </a:xfrm>
          <a:prstGeom prst="rect">
            <a:avLst/>
          </a:prstGeom>
        </p:spPr>
        <p:txBody>
          <a:bodyPr lIns="90000" tIns="46800" rIns="90000" bIns="46800" anchor="b">
            <a:spAutoFit/>
          </a:bodyPr>
          <a:lstStyle>
            <a:lvl1pPr marL="0" indent="0" algn="l">
              <a:lnSpc>
                <a:spcPct val="100000"/>
              </a:lnSpc>
              <a:buNone/>
              <a:defRPr sz="1200" b="1">
                <a:solidFill>
                  <a:schemeClr val="tx1"/>
                </a:solidFill>
                <a:latin typeface="+mn-lt"/>
                <a:ea typeface="Open Sans" panose="020B0606030504020204" pitchFamily="34" charset="0"/>
                <a:cs typeface="Open Sans" panose="020B0606030504020204" pitchFamily="34" charset="0"/>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GB"/>
              <a:t>Core Team</a:t>
            </a:r>
            <a:endParaRPr lang="en-US"/>
          </a:p>
        </p:txBody>
      </p:sp>
      <p:sp>
        <p:nvSpPr>
          <p:cNvPr id="32" name="Text Placeholder 2">
            <a:extLst>
              <a:ext uri="{FF2B5EF4-FFF2-40B4-BE49-F238E27FC236}">
                <a16:creationId xmlns:a16="http://schemas.microsoft.com/office/drawing/2014/main" id="{BF77EAB8-2662-4077-A02E-83C6B93A6F71}"/>
              </a:ext>
            </a:extLst>
          </p:cNvPr>
          <p:cNvSpPr>
            <a:spLocks noGrp="1"/>
          </p:cNvSpPr>
          <p:nvPr>
            <p:ph type="body" sz="quarter" idx="27" hasCustomPrompt="1"/>
          </p:nvPr>
        </p:nvSpPr>
        <p:spPr>
          <a:xfrm>
            <a:off x="674200" y="2608447"/>
            <a:ext cx="3766500" cy="260713"/>
          </a:xfrm>
          <a:prstGeom prst="rect">
            <a:avLst/>
          </a:prstGeom>
        </p:spPr>
        <p:txBody>
          <a:bodyPr lIns="90000" tIns="46800" rIns="90000" bIns="46800" anchor="t">
            <a:spAutoFit/>
          </a:bodyPr>
          <a:lstStyle>
            <a:lvl1pPr marL="0" marR="0" indent="0" algn="l" defTabSz="685800" rtl="0" eaLnBrk="1" fontAlgn="auto" latinLnBrk="0" hangingPunct="1">
              <a:lnSpc>
                <a:spcPct val="100000"/>
              </a:lnSpc>
              <a:spcBef>
                <a:spcPts val="0"/>
              </a:spcBef>
              <a:spcAft>
                <a:spcPts val="0"/>
              </a:spcAft>
              <a:buClrTx/>
              <a:buSzTx/>
              <a:buFontTx/>
              <a:buNone/>
              <a:tabLst/>
              <a:defRPr sz="1200" b="0">
                <a:solidFill>
                  <a:schemeClr val="tx1"/>
                </a:solidFill>
                <a:latin typeface="+mn-lt"/>
                <a:ea typeface="Open Sans" panose="020B0606030504020204" pitchFamily="34" charset="0"/>
                <a:cs typeface="Open Sans" panose="020B0606030504020204" pitchFamily="34" charset="0"/>
              </a:defRPr>
            </a:lvl1pPr>
            <a:lvl2pPr marL="342900" indent="0">
              <a:buNone/>
              <a:defRPr sz="1950"/>
            </a:lvl2pPr>
            <a:lvl3pPr marL="685800" indent="0">
              <a:buNone/>
              <a:defRPr sz="1950"/>
            </a:lvl3pPr>
            <a:lvl4pPr marL="1028700" indent="0">
              <a:buNone/>
              <a:defRPr sz="1950"/>
            </a:lvl4pPr>
            <a:lvl5pPr marL="1371600" indent="0">
              <a:buNone/>
              <a:defRPr sz="1950"/>
            </a:lvl5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45" name="Text Placeholder 2">
            <a:extLst>
              <a:ext uri="{FF2B5EF4-FFF2-40B4-BE49-F238E27FC236}">
                <a16:creationId xmlns:a16="http://schemas.microsoft.com/office/drawing/2014/main" id="{C4E93A6C-9403-4660-89BE-FA48C6A679B6}"/>
              </a:ext>
            </a:extLst>
          </p:cNvPr>
          <p:cNvSpPr>
            <a:spLocks noGrp="1"/>
          </p:cNvSpPr>
          <p:nvPr>
            <p:ph type="body" sz="quarter" idx="33" hasCustomPrompt="1"/>
          </p:nvPr>
        </p:nvSpPr>
        <p:spPr>
          <a:xfrm>
            <a:off x="4741705" y="2608447"/>
            <a:ext cx="3766500" cy="279180"/>
          </a:xfrm>
          <a:prstGeom prst="rect">
            <a:avLst/>
          </a:prstGeom>
        </p:spPr>
        <p:txBody>
          <a:bodyPr lIns="90000" tIns="46800" rIns="90000" bIns="46800" anchor="t">
            <a:spAutoFit/>
          </a:bodyPr>
          <a:lstStyle>
            <a:lvl1pPr marL="0" indent="0" algn="l">
              <a:lnSpc>
                <a:spcPct val="100000"/>
              </a:lnSpc>
              <a:buNone/>
              <a:defRPr sz="1200" b="0">
                <a:solidFill>
                  <a:schemeClr val="tx1"/>
                </a:solidFill>
                <a:latin typeface="+mn-lt"/>
                <a:ea typeface="Open Sans" panose="020B0606030504020204" pitchFamily="34" charset="0"/>
                <a:cs typeface="Open Sans" panose="020B0606030504020204" pitchFamily="34" charset="0"/>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GB"/>
              <a:t>…</a:t>
            </a:r>
            <a:endParaRPr lang="en-US"/>
          </a:p>
        </p:txBody>
      </p:sp>
      <p:sp>
        <p:nvSpPr>
          <p:cNvPr id="48" name="Text Placeholder 2">
            <a:extLst>
              <a:ext uri="{FF2B5EF4-FFF2-40B4-BE49-F238E27FC236}">
                <a16:creationId xmlns:a16="http://schemas.microsoft.com/office/drawing/2014/main" id="{D8E11F1F-66BD-4891-BAFE-1A8D9EB5B7E3}"/>
              </a:ext>
            </a:extLst>
          </p:cNvPr>
          <p:cNvSpPr>
            <a:spLocks noGrp="1"/>
          </p:cNvSpPr>
          <p:nvPr>
            <p:ph type="body" sz="quarter" idx="38" hasCustomPrompt="1"/>
          </p:nvPr>
        </p:nvSpPr>
        <p:spPr>
          <a:xfrm>
            <a:off x="4741705" y="2162190"/>
            <a:ext cx="3766500" cy="279180"/>
          </a:xfrm>
          <a:prstGeom prst="rect">
            <a:avLst/>
          </a:prstGeom>
        </p:spPr>
        <p:txBody>
          <a:bodyPr lIns="90000" tIns="46800" rIns="90000" bIns="46800" anchor="b">
            <a:spAutoFit/>
          </a:bodyPr>
          <a:lstStyle>
            <a:lvl1pPr marL="0" indent="0" algn="l">
              <a:lnSpc>
                <a:spcPct val="100000"/>
              </a:lnSpc>
              <a:buNone/>
              <a:defRPr sz="1200" b="1">
                <a:solidFill>
                  <a:schemeClr val="tx1"/>
                </a:solidFill>
                <a:latin typeface="+mn-lt"/>
                <a:ea typeface="Open Sans" panose="020B0606030504020204" pitchFamily="34" charset="0"/>
                <a:cs typeface="Open Sans" panose="020B0606030504020204" pitchFamily="34" charset="0"/>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GB"/>
              <a:t>Supporting Teams &amp; Capabilities</a:t>
            </a:r>
            <a:endParaRPr lang="en-US"/>
          </a:p>
        </p:txBody>
      </p:sp>
    </p:spTree>
    <p:extLst>
      <p:ext uri="{BB962C8B-B14F-4D97-AF65-F5344CB8AC3E}">
        <p14:creationId xmlns:p14="http://schemas.microsoft.com/office/powerpoint/2010/main" val="15719893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 Grey bkgd.">
    <p:bg>
      <p:bgPr>
        <a:solidFill>
          <a:schemeClr val="bg2">
            <a:alpha val="40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DF0FA55-B6BE-461E-BEAB-DB74A01BEB0A}"/>
              </a:ext>
            </a:extLst>
          </p:cNvPr>
          <p:cNvSpPr>
            <a:spLocks noGrp="1"/>
          </p:cNvSpPr>
          <p:nvPr>
            <p:ph type="title"/>
          </p:nvPr>
        </p:nvSpPr>
        <p:spPr>
          <a:xfrm>
            <a:off x="454023" y="362458"/>
            <a:ext cx="8141098" cy="507831"/>
          </a:xfrm>
          <a:prstGeom prst="rect">
            <a:avLst/>
          </a:prstGeom>
        </p:spPr>
        <p:txBody>
          <a:bodyPr wrap="square">
            <a:spAutoFit/>
          </a:bodyPr>
          <a:lstStyle>
            <a:lvl1pPr>
              <a:lnSpc>
                <a:spcPct val="100000"/>
              </a:lnSpc>
              <a:defRPr lang="en-IN" sz="2700" b="1" i="0">
                <a:latin typeface="+mn-lt"/>
                <a:ea typeface="Open Sans" panose="020B0606030504020204" pitchFamily="34" charset="0"/>
                <a:cs typeface="Open Sans" panose="020B0606030504020204" pitchFamily="34" charset="0"/>
              </a:defRPr>
            </a:lvl1pPr>
          </a:lstStyle>
          <a:p>
            <a:pPr marL="0" lvl="0" indent="0">
              <a:lnSpc>
                <a:spcPct val="100000"/>
              </a:lnSpc>
              <a:spcBef>
                <a:spcPts val="750"/>
              </a:spcBef>
              <a:buFont typeface="Arial" panose="020B0604020202020204" pitchFamily="34" charset="0"/>
            </a:pPr>
            <a:r>
              <a:rPr lang="en-US"/>
              <a:t>Click to edit Master title style</a:t>
            </a:r>
            <a:endParaRPr lang="en-IN"/>
          </a:p>
        </p:txBody>
      </p:sp>
    </p:spTree>
    <p:extLst>
      <p:ext uri="{BB962C8B-B14F-4D97-AF65-F5344CB8AC3E}">
        <p14:creationId xmlns:p14="http://schemas.microsoft.com/office/powerpoint/2010/main" val="2927828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 KPI + Chart + Insight">
    <p:bg>
      <p:bgPr>
        <a:solidFill>
          <a:schemeClr val="bg2">
            <a:alpha val="40000"/>
          </a:schemeClr>
        </a:solidFill>
        <a:effectLst/>
      </p:bgPr>
    </p:bg>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AF5089CB-7511-41A5-8BB2-19BFBF1AA219}"/>
              </a:ext>
            </a:extLst>
          </p:cNvPr>
          <p:cNvSpPr>
            <a:spLocks noGrp="1"/>
          </p:cNvSpPr>
          <p:nvPr>
            <p:ph type="body" sz="quarter" idx="34" hasCustomPrompt="1"/>
          </p:nvPr>
        </p:nvSpPr>
        <p:spPr>
          <a:xfrm>
            <a:off x="533399" y="476902"/>
            <a:ext cx="2278857" cy="999473"/>
          </a:xfrm>
          <a:prstGeom prst="roundRect">
            <a:avLst>
              <a:gd name="adj" fmla="val 7137"/>
            </a:avLst>
          </a:prstGeom>
          <a:solidFill>
            <a:schemeClr val="bg1"/>
          </a:solidFill>
        </p:spPr>
        <p:txBody>
          <a:bodyPr anchor="t">
            <a:noAutofit/>
          </a:bodyPr>
          <a:lstStyle>
            <a:lvl1pPr marL="0" indent="0" algn="l">
              <a:lnSpc>
                <a:spcPct val="100000"/>
              </a:lnSpc>
              <a:buNone/>
              <a:defRPr sz="1200" b="0">
                <a:solidFill>
                  <a:schemeClr val="tx1"/>
                </a:solidFill>
                <a:latin typeface="+mn-lt"/>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GB"/>
              <a:t>KPI Title in maximum two lines (Delete unused arrow)</a:t>
            </a:r>
            <a:endParaRPr lang="en-US"/>
          </a:p>
        </p:txBody>
      </p:sp>
      <p:sp>
        <p:nvSpPr>
          <p:cNvPr id="24" name="Text Placeholder 2">
            <a:extLst>
              <a:ext uri="{FF2B5EF4-FFF2-40B4-BE49-F238E27FC236}">
                <a16:creationId xmlns:a16="http://schemas.microsoft.com/office/drawing/2014/main" id="{B53BDD87-8487-47E6-9940-D76772149479}"/>
              </a:ext>
            </a:extLst>
          </p:cNvPr>
          <p:cNvSpPr>
            <a:spLocks noGrp="1"/>
          </p:cNvSpPr>
          <p:nvPr>
            <p:ph type="body" sz="quarter" idx="19" hasCustomPrompt="1"/>
          </p:nvPr>
        </p:nvSpPr>
        <p:spPr>
          <a:xfrm>
            <a:off x="893584" y="1044189"/>
            <a:ext cx="1382891" cy="372785"/>
          </a:xfrm>
          <a:prstGeom prst="rect">
            <a:avLst/>
          </a:prstGeom>
        </p:spPr>
        <p:txBody>
          <a:bodyPr tIns="36000" bIns="36000" anchor="ctr" anchorCtr="0">
            <a:spAutoFit/>
          </a:bodyPr>
          <a:lstStyle>
            <a:lvl1pPr marL="0" indent="0" algn="l">
              <a:lnSpc>
                <a:spcPct val="100000"/>
              </a:lnSpc>
              <a:buNone/>
              <a:defRPr sz="1950" b="1">
                <a:solidFill>
                  <a:schemeClr val="tx1"/>
                </a:solidFill>
                <a:latin typeface="+mn-lt"/>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GB"/>
              <a:t>0.00%</a:t>
            </a:r>
            <a:endParaRPr lang="en-US"/>
          </a:p>
        </p:txBody>
      </p:sp>
      <p:sp>
        <p:nvSpPr>
          <p:cNvPr id="18" name="Text Placeholder 2">
            <a:extLst>
              <a:ext uri="{FF2B5EF4-FFF2-40B4-BE49-F238E27FC236}">
                <a16:creationId xmlns:a16="http://schemas.microsoft.com/office/drawing/2014/main" id="{620836B1-9C69-4E0F-BAAD-CE5281147C9C}"/>
              </a:ext>
            </a:extLst>
          </p:cNvPr>
          <p:cNvSpPr>
            <a:spLocks noGrp="1"/>
          </p:cNvSpPr>
          <p:nvPr>
            <p:ph type="body" sz="quarter" idx="32" hasCustomPrompt="1"/>
          </p:nvPr>
        </p:nvSpPr>
        <p:spPr>
          <a:xfrm>
            <a:off x="533398" y="1529858"/>
            <a:ext cx="8061724" cy="3130248"/>
          </a:xfrm>
          <a:prstGeom prst="roundRect">
            <a:avLst>
              <a:gd name="adj" fmla="val 2467"/>
            </a:avLst>
          </a:prstGeom>
          <a:solidFill>
            <a:schemeClr val="bg1"/>
          </a:solidFill>
        </p:spPr>
        <p:txBody>
          <a:bodyPr anchor="t">
            <a:noAutofit/>
          </a:bodyPr>
          <a:lstStyle>
            <a:lvl1pPr marL="0" indent="0" algn="l">
              <a:lnSpc>
                <a:spcPct val="100000"/>
              </a:lnSpc>
              <a:buNone/>
              <a:defRPr sz="1200" b="0">
                <a:solidFill>
                  <a:schemeClr val="tx1"/>
                </a:solidFill>
                <a:latin typeface="+mn-lt"/>
              </a:defRPr>
            </a:lvl1pPr>
            <a:lvl2pPr marL="342900" indent="0">
              <a:buNone/>
              <a:defRPr sz="1950"/>
            </a:lvl2pPr>
            <a:lvl3pPr marL="685800" indent="0">
              <a:buNone/>
              <a:defRPr sz="1950"/>
            </a:lvl3pPr>
            <a:lvl4pPr marL="1028700" indent="0">
              <a:buNone/>
              <a:defRPr sz="1950"/>
            </a:lvl4pPr>
            <a:lvl5pPr marL="1371600" indent="0">
              <a:buNone/>
              <a:defRPr sz="1950"/>
            </a:lvl5pPr>
          </a:lstStyle>
          <a:p>
            <a:pPr marL="0" lvl="0" indent="0">
              <a:lnSpc>
                <a:spcPct val="100000"/>
              </a:lnSpc>
              <a:buNone/>
            </a:pPr>
            <a:r>
              <a:rPr lang="en-US"/>
              <a:t>Chart / Graph Title with time period</a:t>
            </a:r>
          </a:p>
        </p:txBody>
      </p:sp>
      <p:sp>
        <p:nvSpPr>
          <p:cNvPr id="21" name="Text Placeholder 2">
            <a:extLst>
              <a:ext uri="{FF2B5EF4-FFF2-40B4-BE49-F238E27FC236}">
                <a16:creationId xmlns:a16="http://schemas.microsoft.com/office/drawing/2014/main" id="{0E30B14A-4BE2-413A-ADB3-6F948978664F}"/>
              </a:ext>
            </a:extLst>
          </p:cNvPr>
          <p:cNvSpPr>
            <a:spLocks noGrp="1"/>
          </p:cNvSpPr>
          <p:nvPr>
            <p:ph type="body" sz="quarter" idx="22" hasCustomPrompt="1"/>
          </p:nvPr>
        </p:nvSpPr>
        <p:spPr>
          <a:xfrm>
            <a:off x="2870598" y="476902"/>
            <a:ext cx="5730475" cy="999473"/>
          </a:xfrm>
          <a:prstGeom prst="roundRect">
            <a:avLst>
              <a:gd name="adj" fmla="val 7772"/>
            </a:avLst>
          </a:prstGeom>
          <a:solidFill>
            <a:schemeClr val="bg1">
              <a:lumMod val="85000"/>
            </a:schemeClr>
          </a:solidFill>
        </p:spPr>
        <p:txBody>
          <a:bodyPr wrap="square" anchor="ctr">
            <a:noAutofit/>
          </a:bodyPr>
          <a:lstStyle>
            <a:lvl1pPr marL="10800" indent="0" algn="l">
              <a:lnSpc>
                <a:spcPct val="100000"/>
              </a:lnSpc>
              <a:spcBef>
                <a:spcPts val="0"/>
              </a:spcBef>
              <a:buNone/>
              <a:defRPr sz="1950" b="1">
                <a:solidFill>
                  <a:schemeClr val="tx1"/>
                </a:solidFill>
                <a:latin typeface="+mn-lt"/>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GB"/>
              <a:t>Sub Title or Important Insight / Takeaway from the data in maximum two lines</a:t>
            </a:r>
          </a:p>
        </p:txBody>
      </p:sp>
      <p:sp>
        <p:nvSpPr>
          <p:cNvPr id="8" name="Text Placeholder 2">
            <a:extLst>
              <a:ext uri="{FF2B5EF4-FFF2-40B4-BE49-F238E27FC236}">
                <a16:creationId xmlns:a16="http://schemas.microsoft.com/office/drawing/2014/main" id="{6C14C1E8-22CB-416D-B781-FF68BA042A4E}"/>
              </a:ext>
            </a:extLst>
          </p:cNvPr>
          <p:cNvSpPr>
            <a:spLocks noGrp="1"/>
          </p:cNvSpPr>
          <p:nvPr>
            <p:ph type="body" sz="quarter" idx="31" hasCustomPrompt="1"/>
          </p:nvPr>
        </p:nvSpPr>
        <p:spPr>
          <a:xfrm>
            <a:off x="703831" y="1097462"/>
            <a:ext cx="154238" cy="100796"/>
          </a:xfrm>
          <a:prstGeom prst="triangle">
            <a:avLst/>
          </a:prstGeom>
          <a:solidFill>
            <a:srgbClr val="00B050"/>
          </a:solidFill>
        </p:spPr>
        <p:txBody>
          <a:bodyPr tIns="36000" bIns="36000" anchor="ctr" anchorCtr="0">
            <a:noAutofit/>
          </a:bodyPr>
          <a:lstStyle>
            <a:lvl1pPr marL="0" indent="0" algn="l">
              <a:lnSpc>
                <a:spcPct val="100000"/>
              </a:lnSpc>
              <a:buNone/>
              <a:defRPr sz="100" b="1">
                <a:solidFill>
                  <a:srgbClr val="00B050"/>
                </a:solidFill>
                <a:latin typeface="+mn-lt"/>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US"/>
              <a:t>a</a:t>
            </a:r>
          </a:p>
        </p:txBody>
      </p:sp>
      <p:sp>
        <p:nvSpPr>
          <p:cNvPr id="11" name="Text Placeholder 2">
            <a:extLst>
              <a:ext uri="{FF2B5EF4-FFF2-40B4-BE49-F238E27FC236}">
                <a16:creationId xmlns:a16="http://schemas.microsoft.com/office/drawing/2014/main" id="{57F1FA94-5B2F-4916-81BF-8C7F82789638}"/>
              </a:ext>
            </a:extLst>
          </p:cNvPr>
          <p:cNvSpPr>
            <a:spLocks noGrp="1"/>
          </p:cNvSpPr>
          <p:nvPr>
            <p:ph type="body" sz="quarter" idx="37" hasCustomPrompt="1"/>
          </p:nvPr>
        </p:nvSpPr>
        <p:spPr>
          <a:xfrm flipV="1">
            <a:off x="703831" y="1237573"/>
            <a:ext cx="154238" cy="100796"/>
          </a:xfrm>
          <a:prstGeom prst="triangle">
            <a:avLst/>
          </a:prstGeom>
          <a:solidFill>
            <a:schemeClr val="accent3"/>
          </a:solidFill>
        </p:spPr>
        <p:txBody>
          <a:bodyPr tIns="36000" bIns="36000" anchor="ctr" anchorCtr="0">
            <a:noAutofit/>
          </a:bodyPr>
          <a:lstStyle>
            <a:lvl1pPr marL="0" indent="0" algn="l">
              <a:lnSpc>
                <a:spcPct val="100000"/>
              </a:lnSpc>
              <a:buNone/>
              <a:defRPr sz="100" b="1">
                <a:solidFill>
                  <a:srgbClr val="00B050"/>
                </a:solidFill>
                <a:latin typeface="+mn-lt"/>
              </a:defRPr>
            </a:lvl1pPr>
            <a:lvl2pPr marL="342900" indent="0">
              <a:buNone/>
              <a:defRPr sz="1950"/>
            </a:lvl2pPr>
            <a:lvl3pPr marL="685800" indent="0">
              <a:buNone/>
              <a:defRPr sz="1950"/>
            </a:lvl3pPr>
            <a:lvl4pPr marL="1028700" indent="0">
              <a:buNone/>
              <a:defRPr sz="1950"/>
            </a:lvl4pPr>
            <a:lvl5pPr marL="1371600" indent="0">
              <a:buNone/>
              <a:defRPr sz="1950"/>
            </a:lvl5pPr>
          </a:lstStyle>
          <a:p>
            <a:pPr lvl="0"/>
            <a:r>
              <a:rPr lang="en-US"/>
              <a:t>a</a:t>
            </a:r>
          </a:p>
        </p:txBody>
      </p:sp>
    </p:spTree>
    <p:extLst>
      <p:ext uri="{BB962C8B-B14F-4D97-AF65-F5344CB8AC3E}">
        <p14:creationId xmlns:p14="http://schemas.microsoft.com/office/powerpoint/2010/main" val="1419513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 Agenda">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0AF9CFF-702B-9A41-9BCE-68B1ADE8A577}"/>
              </a:ext>
            </a:extLst>
          </p:cNvPr>
          <p:cNvSpPr>
            <a:spLocks noGrp="1"/>
          </p:cNvSpPr>
          <p:nvPr>
            <p:ph type="dt" sz="half" idx="10"/>
          </p:nvPr>
        </p:nvSpPr>
        <p:spPr>
          <a:xfrm>
            <a:off x="489348" y="4892437"/>
            <a:ext cx="2400299" cy="163991"/>
          </a:xfrm>
          <a:prstGeom prst="rect">
            <a:avLst/>
          </a:prstGeom>
        </p:spPr>
        <p:txBody>
          <a:bodyPr/>
          <a:lstStyle>
            <a:lvl1pPr algn="l">
              <a:defRPr sz="600">
                <a:solidFill>
                  <a:srgbClr val="6B6B6B"/>
                </a:solidFill>
                <a:latin typeface="Open Sans" panose="020B0606030504020204" pitchFamily="34" charset="0"/>
                <a:ea typeface="Open Sans" panose="020B0606030504020204" pitchFamily="34" charset="0"/>
                <a:cs typeface="Open Sans" panose="020B0606030504020204" pitchFamily="34" charset="0"/>
              </a:defRPr>
            </a:lvl1pPr>
          </a:lstStyle>
          <a:p>
            <a:r>
              <a:rPr lang="en-IN"/>
              <a:t>© 2020 Fractal Analytics Inc. All rights reserved | Confidential</a:t>
            </a:r>
            <a:endParaRPr lang="en-US" dirty="0"/>
          </a:p>
        </p:txBody>
      </p:sp>
      <p:sp>
        <p:nvSpPr>
          <p:cNvPr id="6" name="Footer Placeholder 5">
            <a:extLst>
              <a:ext uri="{FF2B5EF4-FFF2-40B4-BE49-F238E27FC236}">
                <a16:creationId xmlns:a16="http://schemas.microsoft.com/office/drawing/2014/main" id="{077F20CC-BD93-714E-B003-BB8681BE95F7}"/>
              </a:ext>
            </a:extLst>
          </p:cNvPr>
          <p:cNvSpPr>
            <a:spLocks noGrp="1"/>
          </p:cNvSpPr>
          <p:nvPr>
            <p:ph type="ftr" sz="quarter" idx="11"/>
          </p:nvPr>
        </p:nvSpPr>
        <p:spPr>
          <a:xfrm>
            <a:off x="3028950" y="4892437"/>
            <a:ext cx="3086100" cy="163991"/>
          </a:xfrm>
          <a:prstGeom prst="rect">
            <a:avLst/>
          </a:prstGeom>
        </p:spPr>
        <p:txBody>
          <a:bodyPr/>
          <a:lstStyle>
            <a:lvl1pPr algn="ctr">
              <a:defRPr sz="600">
                <a:solidFill>
                  <a:srgbClr val="6B6B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a:t>
            </a:r>
            <a:endParaRPr lang="en-US" dirty="0"/>
          </a:p>
        </p:txBody>
      </p:sp>
      <p:pic>
        <p:nvPicPr>
          <p:cNvPr id="10" name="Picture 8" descr="pasted-image.pdf">
            <a:extLst>
              <a:ext uri="{FF2B5EF4-FFF2-40B4-BE49-F238E27FC236}">
                <a16:creationId xmlns:a16="http://schemas.microsoft.com/office/drawing/2014/main" id="{0F2D82AB-67C4-7141-B333-8B15F53C48A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0297" y="4920496"/>
            <a:ext cx="511713" cy="107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BB2C3530-D6C0-7C4F-A8F6-0778C8CF265E}"/>
              </a:ext>
            </a:extLst>
          </p:cNvPr>
          <p:cNvSpPr/>
          <p:nvPr userDrawn="1"/>
        </p:nvSpPr>
        <p:spPr>
          <a:xfrm>
            <a:off x="8055509" y="4907521"/>
            <a:ext cx="569379" cy="131719"/>
          </a:xfrm>
          <a:prstGeom prst="rect">
            <a:avLst/>
          </a:prstGeom>
          <a:blipFill dpi="0" rotWithShape="1">
            <a:blip r:embed="rId3"/>
            <a:srcRect/>
            <a:stretch>
              <a:fillRect l="2000" t="-3000" b="-4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ext Placeholder 14">
            <a:extLst>
              <a:ext uri="{FF2B5EF4-FFF2-40B4-BE49-F238E27FC236}">
                <a16:creationId xmlns:a16="http://schemas.microsoft.com/office/drawing/2014/main" id="{BE13E168-390E-7242-8BD5-63BC8E951285}"/>
              </a:ext>
            </a:extLst>
          </p:cNvPr>
          <p:cNvSpPr>
            <a:spLocks noGrp="1"/>
          </p:cNvSpPr>
          <p:nvPr>
            <p:ph type="body" sz="quarter" idx="15" hasCustomPrompt="1"/>
          </p:nvPr>
        </p:nvSpPr>
        <p:spPr>
          <a:xfrm>
            <a:off x="533400" y="1099165"/>
            <a:ext cx="348523" cy="3560942"/>
          </a:xfrm>
          <a:prstGeom prst="rect">
            <a:avLst/>
          </a:prstGeom>
        </p:spPr>
        <p:txBody>
          <a:bodyPr vert="horz" lIns="0" tIns="0" rIns="0" bIns="93600" anchor="t" anchorCtr="0"/>
          <a:lstStyle>
            <a:lvl1pPr marL="0" indent="0">
              <a:lnSpc>
                <a:spcPts val="3600"/>
              </a:lnSpc>
              <a:spcBef>
                <a:spcPts val="0"/>
              </a:spcBef>
              <a:buNone/>
              <a:defRPr sz="1950" b="1" i="0">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01</a:t>
            </a:r>
          </a:p>
          <a:p>
            <a:pPr lvl="0"/>
            <a:r>
              <a:rPr lang="en-US" dirty="0"/>
              <a:t>02</a:t>
            </a:r>
          </a:p>
          <a:p>
            <a:pPr lvl="0"/>
            <a:r>
              <a:rPr lang="en-US" dirty="0"/>
              <a:t>03</a:t>
            </a:r>
          </a:p>
          <a:p>
            <a:pPr lvl="0"/>
            <a:r>
              <a:rPr lang="en-US" dirty="0"/>
              <a:t>04</a:t>
            </a:r>
          </a:p>
          <a:p>
            <a:pPr lvl="0"/>
            <a:r>
              <a:rPr lang="en-US" dirty="0"/>
              <a:t>05</a:t>
            </a:r>
          </a:p>
          <a:p>
            <a:pPr lvl="0"/>
            <a:r>
              <a:rPr lang="en-US" dirty="0"/>
              <a:t>06</a:t>
            </a:r>
          </a:p>
          <a:p>
            <a:pPr lvl="0"/>
            <a:r>
              <a:rPr lang="en-US" dirty="0"/>
              <a:t>07</a:t>
            </a:r>
          </a:p>
        </p:txBody>
      </p:sp>
      <p:sp>
        <p:nvSpPr>
          <p:cNvPr id="14" name="Text Placeholder 3">
            <a:extLst>
              <a:ext uri="{FF2B5EF4-FFF2-40B4-BE49-F238E27FC236}">
                <a16:creationId xmlns:a16="http://schemas.microsoft.com/office/drawing/2014/main" id="{CD93C9E8-117A-1548-B991-4954B63B4104}"/>
              </a:ext>
            </a:extLst>
          </p:cNvPr>
          <p:cNvSpPr>
            <a:spLocks noGrp="1"/>
          </p:cNvSpPr>
          <p:nvPr>
            <p:ph type="body" sz="half" idx="16" hasCustomPrompt="1"/>
          </p:nvPr>
        </p:nvSpPr>
        <p:spPr>
          <a:xfrm>
            <a:off x="454024" y="373999"/>
            <a:ext cx="8132431" cy="589217"/>
          </a:xfrm>
          <a:prstGeom prst="rect">
            <a:avLst/>
          </a:prstGeom>
        </p:spPr>
        <p:txBody>
          <a:bodyPr/>
          <a:lstStyle>
            <a:lvl1pPr marL="0" indent="0">
              <a:lnSpc>
                <a:spcPct val="100000"/>
              </a:lnSpc>
              <a:buNone/>
              <a:defRPr sz="3150" b="1"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dirty="0"/>
              <a:t>Content</a:t>
            </a:r>
          </a:p>
        </p:txBody>
      </p:sp>
      <p:sp>
        <p:nvSpPr>
          <p:cNvPr id="15" name="Text Placeholder 14">
            <a:extLst>
              <a:ext uri="{FF2B5EF4-FFF2-40B4-BE49-F238E27FC236}">
                <a16:creationId xmlns:a16="http://schemas.microsoft.com/office/drawing/2014/main" id="{9275958B-037F-624D-A93F-C5B2538CEBF0}"/>
              </a:ext>
            </a:extLst>
          </p:cNvPr>
          <p:cNvSpPr>
            <a:spLocks noGrp="1"/>
          </p:cNvSpPr>
          <p:nvPr>
            <p:ph type="body" sz="quarter" idx="17" hasCustomPrompt="1"/>
          </p:nvPr>
        </p:nvSpPr>
        <p:spPr>
          <a:xfrm>
            <a:off x="1124902" y="1099165"/>
            <a:ext cx="7470220" cy="3560942"/>
          </a:xfrm>
          <a:prstGeom prst="rect">
            <a:avLst/>
          </a:prstGeom>
        </p:spPr>
        <p:txBody>
          <a:bodyPr vert="horz" lIns="0" tIns="0" rIns="0" bIns="93600" anchor="t" anchorCtr="0"/>
          <a:lstStyle>
            <a:lvl1pPr marL="0" marR="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sz="195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hort Content Description</a:t>
            </a:r>
          </a:p>
          <a:p>
            <a:pPr marL="0" marR="0" lvl="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a:pPr>
            <a:r>
              <a:rPr lang="en-US" dirty="0"/>
              <a:t>Short Content Description</a:t>
            </a:r>
          </a:p>
          <a:p>
            <a:pPr marL="0" marR="0" lvl="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a:pPr>
            <a:r>
              <a:rPr lang="en-US" dirty="0"/>
              <a:t>Short Content Description</a:t>
            </a:r>
          </a:p>
          <a:p>
            <a:pPr marL="0" marR="0" lvl="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a:pPr>
            <a:r>
              <a:rPr lang="en-US" dirty="0"/>
              <a:t>Short Content Description</a:t>
            </a:r>
          </a:p>
          <a:p>
            <a:pPr marL="0" marR="0" lvl="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a:pPr>
            <a:r>
              <a:rPr lang="en-US" dirty="0"/>
              <a:t>Short Content Description</a:t>
            </a:r>
          </a:p>
          <a:p>
            <a:pPr marL="0" marR="0" lvl="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a:pPr>
            <a:r>
              <a:rPr lang="en-US" dirty="0"/>
              <a:t>Short Content Description</a:t>
            </a:r>
          </a:p>
          <a:p>
            <a:pPr marL="0" marR="0" lvl="0" indent="0" algn="l" defTabSz="685800" rtl="0" eaLnBrk="1" fontAlgn="auto" latinLnBrk="0" hangingPunct="1">
              <a:lnSpc>
                <a:spcPts val="3600"/>
              </a:lnSpc>
              <a:spcBef>
                <a:spcPts val="0"/>
              </a:spcBef>
              <a:spcAft>
                <a:spcPts val="0"/>
              </a:spcAft>
              <a:buClrTx/>
              <a:buSzTx/>
              <a:buFont typeface="Arial" panose="020B0604020202020204" pitchFamily="34" charset="0"/>
              <a:buNone/>
              <a:tabLst/>
              <a:defRPr/>
            </a:pPr>
            <a:r>
              <a:rPr lang="en-US" dirty="0"/>
              <a:t>Short Content Description</a:t>
            </a:r>
          </a:p>
        </p:txBody>
      </p:sp>
    </p:spTree>
    <p:extLst>
      <p:ext uri="{BB962C8B-B14F-4D97-AF65-F5344CB8AC3E}">
        <p14:creationId xmlns:p14="http://schemas.microsoft.com/office/powerpoint/2010/main" val="1697652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18_Custom Layout" type="tx">
  <p:cSld name="18_Custom Layout">
    <p:spTree>
      <p:nvGrpSpPr>
        <p:cNvPr id="1" name="Shape 6"/>
        <p:cNvGrpSpPr/>
        <p:nvPr/>
      </p:nvGrpSpPr>
      <p:grpSpPr>
        <a:xfrm>
          <a:off x="0" y="0"/>
          <a:ext cx="0" cy="0"/>
          <a:chOff x="0" y="0"/>
          <a:chExt cx="0" cy="0"/>
        </a:xfrm>
      </p:grpSpPr>
      <p:sp>
        <p:nvSpPr>
          <p:cNvPr id="7" name="Google Shape;7;p2"/>
          <p:cNvSpPr txBox="1">
            <a:spLocks noGrp="1"/>
          </p:cNvSpPr>
          <p:nvPr>
            <p:ph type="sldNum" idx="12"/>
          </p:nvPr>
        </p:nvSpPr>
        <p:spPr>
          <a:xfrm>
            <a:off x="0" y="0"/>
            <a:ext cx="2250000" cy="22500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1pPr>
            <a:lvl2pPr marL="0" marR="0" lvl="1"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2pPr>
            <a:lvl3pPr marL="0" marR="0" lvl="2"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3pPr>
            <a:lvl4pPr marL="0" marR="0" lvl="3"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4pPr>
            <a:lvl5pPr marL="0" marR="0" lvl="4"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5pPr>
            <a:lvl6pPr marL="0" marR="0" lvl="5"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6pPr>
            <a:lvl7pPr marL="0" marR="0" lvl="6"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7pPr>
            <a:lvl8pPr marL="0" marR="0" lvl="7"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8pPr>
            <a:lvl9pPr marL="0" marR="0" lvl="8" indent="0" algn="l" rtl="0">
              <a:lnSpc>
                <a:spcPct val="100000"/>
              </a:lnSpc>
              <a:spcBef>
                <a:spcPts val="0"/>
              </a:spcBef>
              <a:spcAft>
                <a:spcPts val="0"/>
              </a:spcAft>
              <a:buClr>
                <a:srgbClr val="001847"/>
              </a:buClr>
              <a:buSzPts val="1800"/>
              <a:buFont typeface="Calibri"/>
              <a:buNone/>
              <a:defRPr sz="1350" b="0" i="0" u="none" strike="noStrike" cap="none">
                <a:solidFill>
                  <a:srgbClr val="001847"/>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603604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95D02-1393-4AB3-B2C9-42E44448D71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10B137B-0EBB-4E34-8A8C-CBB311E674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A38B11D-C50B-467F-89ED-B945CBE83956}"/>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5" name="Footer Placeholder 4">
            <a:extLst>
              <a:ext uri="{FF2B5EF4-FFF2-40B4-BE49-F238E27FC236}">
                <a16:creationId xmlns:a16="http://schemas.microsoft.com/office/drawing/2014/main" id="{CE2977F5-1EC3-46FA-98B6-B171AB52C49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6D0840C-821B-4EA3-BE75-B701673C52E5}"/>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262795147"/>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A2B21-0ECD-4BCD-87B3-EC330F739F1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F60F40B-0E42-4D10-A2D9-4AD19908821F}"/>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120CBD5-ACD9-4A06-A3E1-38843644AE99}"/>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5" name="Footer Placeholder 4">
            <a:extLst>
              <a:ext uri="{FF2B5EF4-FFF2-40B4-BE49-F238E27FC236}">
                <a16:creationId xmlns:a16="http://schemas.microsoft.com/office/drawing/2014/main" id="{7ABE5F91-30DA-429C-A732-AE37CD2BE0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8C83BF1-F2F2-490E-B35A-BC1A120F5F03}"/>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74960761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C7768-86F5-427D-AC50-DD65C7DC5CE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8F6B35E-29D6-4D10-813C-FCA46FB52715}"/>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B5630A6-D215-4FF9-A998-6CFF0C51CFEC}"/>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65D3355-0953-4A14-8C08-2A501795891F}"/>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6" name="Footer Placeholder 5">
            <a:extLst>
              <a:ext uri="{FF2B5EF4-FFF2-40B4-BE49-F238E27FC236}">
                <a16:creationId xmlns:a16="http://schemas.microsoft.com/office/drawing/2014/main" id="{6E38AAE6-28A8-4BFC-B2A4-FC088DC8A2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B22C10F-66A4-4E17-B2D9-AD2A6B56732D}"/>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4051852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197ACB-7608-4189-9926-D5FEA50BCD3B}"/>
              </a:ext>
            </a:extLst>
          </p:cNvPr>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F7D3443-3D44-4A85-8F43-1228FC461B41}"/>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5BFD3F6-35AF-4024-B128-AAC6E94DB49C}"/>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E9ED0A1-8BAE-4D24-A444-16C305AF4AEE}"/>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746F183-BD9B-48BB-800C-1CE78083F35A}"/>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DDA9A02-9EC5-41E0-961E-C193BB2D41C2}"/>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8" name="Footer Placeholder 7">
            <a:extLst>
              <a:ext uri="{FF2B5EF4-FFF2-40B4-BE49-F238E27FC236}">
                <a16:creationId xmlns:a16="http://schemas.microsoft.com/office/drawing/2014/main" id="{605D77C0-D6BC-4832-9901-51E78BCB3ED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B74436F-E2E1-43F9-9700-7A1199307B0B}"/>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895700351"/>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DF8C7-CF53-43CB-A7BA-BB26B3C693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F5890A2-D53D-4190-9201-B1B0AD2D95CB}"/>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4" name="Footer Placeholder 3">
            <a:extLst>
              <a:ext uri="{FF2B5EF4-FFF2-40B4-BE49-F238E27FC236}">
                <a16:creationId xmlns:a16="http://schemas.microsoft.com/office/drawing/2014/main" id="{C0EC6572-2E87-4030-806B-D140E7E3713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6563C57-A84C-4E01-B53D-2596373B021E}"/>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18581647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C0E066-F687-4558-A679-35EFDFE48E63}"/>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3" name="Footer Placeholder 2">
            <a:extLst>
              <a:ext uri="{FF2B5EF4-FFF2-40B4-BE49-F238E27FC236}">
                <a16:creationId xmlns:a16="http://schemas.microsoft.com/office/drawing/2014/main" id="{411938EA-71AA-4CA1-A7EB-12714CBE78E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F9F3FBD-FAC2-4F72-A820-A9967D8205B7}"/>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190925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0F031-08E9-4BD3-92BF-339D12C2DD0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853C6B7-4E4A-4185-B237-2FCCFAD9841D}"/>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3804DDE-2F31-4704-B670-1D190151C344}"/>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7BC5F29-285E-4D3F-BB81-93B58110A90E}"/>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6" name="Footer Placeholder 5">
            <a:extLst>
              <a:ext uri="{FF2B5EF4-FFF2-40B4-BE49-F238E27FC236}">
                <a16:creationId xmlns:a16="http://schemas.microsoft.com/office/drawing/2014/main" id="{8C404217-C627-4C11-96BE-34A4247B3B1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B226CEF-C8EA-4D5C-BBDE-58EB01EC92D3}"/>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385501720"/>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00C83-AFA8-4A6C-8EE2-6F7CF1C9C4B0}"/>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8761E36-ACAE-4BC3-9657-48E37747E1B2}"/>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7CCF71FC-E565-438F-B75E-25EBE484132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1C35211-F8BF-482C-942F-7B8CD1AD10DC}"/>
              </a:ext>
            </a:extLst>
          </p:cNvPr>
          <p:cNvSpPr>
            <a:spLocks noGrp="1"/>
          </p:cNvSpPr>
          <p:nvPr>
            <p:ph type="dt" sz="half" idx="10"/>
          </p:nvPr>
        </p:nvSpPr>
        <p:spPr/>
        <p:txBody>
          <a:bodyPr/>
          <a:lstStyle/>
          <a:p>
            <a:fld id="{C6AF8800-2AC2-4117-9A16-C6487937F7BB}" type="datetimeFigureOut">
              <a:rPr lang="en-GB" smtClean="0"/>
              <a:t>13/12/2021</a:t>
            </a:fld>
            <a:endParaRPr lang="en-GB"/>
          </a:p>
        </p:txBody>
      </p:sp>
      <p:sp>
        <p:nvSpPr>
          <p:cNvPr id="6" name="Footer Placeholder 5">
            <a:extLst>
              <a:ext uri="{FF2B5EF4-FFF2-40B4-BE49-F238E27FC236}">
                <a16:creationId xmlns:a16="http://schemas.microsoft.com/office/drawing/2014/main" id="{11116EC4-9441-43BF-859D-A23306AE83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399287F-7483-4E50-84FC-B112AD2B51A9}"/>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07437648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99043D-9D2C-407A-8F84-4B0950DA5C86}"/>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DF9D8CC-FF58-4D15-A8D5-C4546D034141}"/>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E1AD03-7AB6-4DBB-964A-F0DDC20DD896}"/>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6AF8800-2AC2-4117-9A16-C6487937F7BB}" type="datetimeFigureOut">
              <a:rPr lang="en-GB" smtClean="0"/>
              <a:t>13/12/2021</a:t>
            </a:fld>
            <a:endParaRPr lang="en-GB"/>
          </a:p>
        </p:txBody>
      </p:sp>
      <p:sp>
        <p:nvSpPr>
          <p:cNvPr id="5" name="Footer Placeholder 4">
            <a:extLst>
              <a:ext uri="{FF2B5EF4-FFF2-40B4-BE49-F238E27FC236}">
                <a16:creationId xmlns:a16="http://schemas.microsoft.com/office/drawing/2014/main" id="{093019E1-D78F-4A29-8E02-9F181DEACBFE}"/>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5F2250B-383B-4A18-A17F-101C65B53509}"/>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marL="0" lvl="0" indent="0" algn="r" rtl="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13792080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4" r:id="rId12"/>
    <p:sldLayoutId id="2147483765" r:id="rId13"/>
    <p:sldLayoutId id="2147483767" r:id="rId14"/>
    <p:sldLayoutId id="2147483768" r:id="rId15"/>
    <p:sldLayoutId id="2147483771" r:id="rId16"/>
    <p:sldLayoutId id="2147483772" r:id="rId17"/>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8.png"/><Relationship Id="rId7" Type="http://schemas.openxmlformats.org/officeDocument/2006/relationships/image" Target="../media/image18.svg"/><Relationship Id="rId2" Type="http://schemas.openxmlformats.org/officeDocument/2006/relationships/image" Target="../media/image27.png"/><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20.sv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19.png"/><Relationship Id="rId7"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30.png"/><Relationship Id="rId4" Type="http://schemas.openxmlformats.org/officeDocument/2006/relationships/image" Target="../media/image20.svg"/></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14.xml"/><Relationship Id="rId4" Type="http://schemas.openxmlformats.org/officeDocument/2006/relationships/comments" Target="../comments/comment1.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9.png"/><Relationship Id="rId1" Type="http://schemas.openxmlformats.org/officeDocument/2006/relationships/slideLayout" Target="../slideLayouts/slideLayout1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7.png"/><Relationship Id="rId1" Type="http://schemas.openxmlformats.org/officeDocument/2006/relationships/slideLayout" Target="../slideLayouts/slideLayout14.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8.png"/><Relationship Id="rId1" Type="http://schemas.openxmlformats.org/officeDocument/2006/relationships/slideLayout" Target="../slideLayouts/slideLayout14.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6.png"/><Relationship Id="rId1" Type="http://schemas.openxmlformats.org/officeDocument/2006/relationships/slideLayout" Target="../slideLayouts/slideLayout14.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61.svg"/><Relationship Id="rId7" Type="http://schemas.openxmlformats.org/officeDocument/2006/relationships/image" Target="../media/image64.svg"/><Relationship Id="rId2" Type="http://schemas.openxmlformats.org/officeDocument/2006/relationships/image" Target="../media/image60.png"/><Relationship Id="rId1" Type="http://schemas.openxmlformats.org/officeDocument/2006/relationships/slideLayout" Target="../slideLayouts/slideLayout1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s://www.linkedin.com/in/kishorkukreja/"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16.xml"/><Relationship Id="rId6" Type="http://schemas.openxmlformats.org/officeDocument/2006/relationships/image" Target="../media/image6.png"/><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14.xml"/><Relationship Id="rId5" Type="http://schemas.openxmlformats.org/officeDocument/2006/relationships/image" Target="../media/image6.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emf"/><Relationship Id="rId10" Type="http://schemas.openxmlformats.org/officeDocument/2006/relationships/image" Target="../media/image16.svg"/><Relationship Id="rId4" Type="http://schemas.openxmlformats.org/officeDocument/2006/relationships/oleObject" Target="../embeddings/oleObject1.bin"/><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0.svg"/><Relationship Id="rId7" Type="http://schemas.openxmlformats.org/officeDocument/2006/relationships/image" Target="../media/image26.pn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14.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9">
            <a:extLst>
              <a:ext uri="{FF2B5EF4-FFF2-40B4-BE49-F238E27FC236}">
                <a16:creationId xmlns:a16="http://schemas.microsoft.com/office/drawing/2014/main" id="{22F15A2D-2324-487D-A02A-BF46C5C580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ight Triangle 11">
            <a:extLst>
              <a:ext uri="{FF2B5EF4-FFF2-40B4-BE49-F238E27FC236}">
                <a16:creationId xmlns:a16="http://schemas.microsoft.com/office/drawing/2014/main" id="{2AEAFA59-923A-4F54-8B49-44C970BCC3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432540" y="2501900"/>
            <a:ext cx="2468880" cy="24003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13">
            <a:extLst>
              <a:ext uri="{FF2B5EF4-FFF2-40B4-BE49-F238E27FC236}">
                <a16:creationId xmlns:a16="http://schemas.microsoft.com/office/drawing/2014/main" id="{C37E9D4B-7BFA-4D10-B666-547BAC4994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330" y="467456"/>
            <a:ext cx="8178790" cy="4205911"/>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screenshot of a computer&#10;&#10;Description automatically generated with medium confidence">
            <a:extLst>
              <a:ext uri="{FF2B5EF4-FFF2-40B4-BE49-F238E27FC236}">
                <a16:creationId xmlns:a16="http://schemas.microsoft.com/office/drawing/2014/main" id="{430B63A9-9CB5-4B79-B0E7-A7C0FA124533}"/>
              </a:ext>
            </a:extLst>
          </p:cNvPr>
          <p:cNvPicPr>
            <a:picLocks noChangeAspect="1"/>
          </p:cNvPicPr>
          <p:nvPr/>
        </p:nvPicPr>
        <p:blipFill rotWithShape="1">
          <a:blip r:embed="rId2"/>
          <a:srcRect l="10569" t="12719" r="14634" b="13134"/>
          <a:stretch/>
        </p:blipFill>
        <p:spPr>
          <a:xfrm>
            <a:off x="670891" y="1199760"/>
            <a:ext cx="6156111" cy="3239741"/>
          </a:xfrm>
          <a:prstGeom prst="rect">
            <a:avLst/>
          </a:prstGeom>
        </p:spPr>
      </p:pic>
      <p:sp>
        <p:nvSpPr>
          <p:cNvPr id="36" name="TextBox 35">
            <a:extLst>
              <a:ext uri="{FF2B5EF4-FFF2-40B4-BE49-F238E27FC236}">
                <a16:creationId xmlns:a16="http://schemas.microsoft.com/office/drawing/2014/main" id="{DA82BD71-B2AD-49F9-B968-F8C20507517C}"/>
              </a:ext>
            </a:extLst>
          </p:cNvPr>
          <p:cNvSpPr txBox="1"/>
          <p:nvPr/>
        </p:nvSpPr>
        <p:spPr>
          <a:xfrm>
            <a:off x="1129709" y="470133"/>
            <a:ext cx="6816898" cy="369332"/>
          </a:xfrm>
          <a:prstGeom prst="rect">
            <a:avLst/>
          </a:prstGeom>
          <a:noFill/>
        </p:spPr>
        <p:txBody>
          <a:bodyPr wrap="square">
            <a:spAutoFit/>
          </a:bodyPr>
          <a:lstStyle/>
          <a:p>
            <a:pPr algn="ctr"/>
            <a:r>
              <a:rPr lang="en-IN" sz="1800" b="1" dirty="0"/>
              <a:t>Sales Volume - Pricing Optimisation</a:t>
            </a:r>
          </a:p>
        </p:txBody>
      </p:sp>
      <p:sp>
        <p:nvSpPr>
          <p:cNvPr id="37" name="TextBox 36">
            <a:extLst>
              <a:ext uri="{FF2B5EF4-FFF2-40B4-BE49-F238E27FC236}">
                <a16:creationId xmlns:a16="http://schemas.microsoft.com/office/drawing/2014/main" id="{3E58C1F4-8316-4BCD-9273-1977712AD662}"/>
              </a:ext>
            </a:extLst>
          </p:cNvPr>
          <p:cNvSpPr txBox="1"/>
          <p:nvPr/>
        </p:nvSpPr>
        <p:spPr>
          <a:xfrm>
            <a:off x="853525" y="806007"/>
            <a:ext cx="8047895" cy="369332"/>
          </a:xfrm>
          <a:prstGeom prst="rect">
            <a:avLst/>
          </a:prstGeom>
          <a:noFill/>
        </p:spPr>
        <p:txBody>
          <a:bodyPr wrap="square">
            <a:spAutoFit/>
          </a:bodyPr>
          <a:lstStyle/>
          <a:p>
            <a:pPr algn="ctr"/>
            <a:r>
              <a:rPr lang="en-US" sz="1800" dirty="0"/>
              <a:t>Recommending a weekly price change schedule for highest Gross Margin Profit</a:t>
            </a:r>
          </a:p>
        </p:txBody>
      </p:sp>
      <p:pic>
        <p:nvPicPr>
          <p:cNvPr id="38" name="Picture 2" descr="Objective Icon #296077 - Free Icons Library">
            <a:extLst>
              <a:ext uri="{FF2B5EF4-FFF2-40B4-BE49-F238E27FC236}">
                <a16:creationId xmlns:a16="http://schemas.microsoft.com/office/drawing/2014/main" id="{B87AA5C7-E7BA-4AD9-8EDA-79D650B60DFD}"/>
              </a:ext>
            </a:extLst>
          </p:cNvPr>
          <p:cNvPicPr>
            <a:picLocks noChangeAspect="1" noChangeArrowheads="1"/>
          </p:cNvPicPr>
          <p:nvPr/>
        </p:nvPicPr>
        <p:blipFill>
          <a:blip r:embed="rId3">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0944" y="505401"/>
            <a:ext cx="552369" cy="552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4187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CBB9AE8F-A58A-45AF-ADE3-F247CF62209E}"/>
              </a:ext>
            </a:extLst>
          </p:cNvPr>
          <p:cNvPicPr>
            <a:picLocks noChangeAspect="1"/>
          </p:cNvPicPr>
          <p:nvPr/>
        </p:nvPicPr>
        <p:blipFill>
          <a:blip r:embed="rId2"/>
          <a:stretch>
            <a:fillRect/>
          </a:stretch>
        </p:blipFill>
        <p:spPr>
          <a:xfrm>
            <a:off x="4782236" y="2116067"/>
            <a:ext cx="3737576" cy="2498516"/>
          </a:xfrm>
          <a:prstGeom prst="rect">
            <a:avLst/>
          </a:prstGeom>
        </p:spPr>
      </p:pic>
      <p:pic>
        <p:nvPicPr>
          <p:cNvPr id="21" name="Picture 20">
            <a:extLst>
              <a:ext uri="{FF2B5EF4-FFF2-40B4-BE49-F238E27FC236}">
                <a16:creationId xmlns:a16="http://schemas.microsoft.com/office/drawing/2014/main" id="{DEC946E1-6136-44B4-93CA-8E47D3ADF35B}"/>
              </a:ext>
            </a:extLst>
          </p:cNvPr>
          <p:cNvPicPr>
            <a:picLocks noChangeAspect="1"/>
          </p:cNvPicPr>
          <p:nvPr/>
        </p:nvPicPr>
        <p:blipFill>
          <a:blip r:embed="rId3"/>
          <a:stretch>
            <a:fillRect/>
          </a:stretch>
        </p:blipFill>
        <p:spPr>
          <a:xfrm>
            <a:off x="731520" y="2080382"/>
            <a:ext cx="3615755" cy="2522615"/>
          </a:xfrm>
          <a:prstGeom prst="rect">
            <a:avLst/>
          </a:prstGeom>
        </p:spPr>
      </p:pic>
      <p:sp>
        <p:nvSpPr>
          <p:cNvPr id="6" name="Text Placeholder 5">
            <a:extLst>
              <a:ext uri="{FF2B5EF4-FFF2-40B4-BE49-F238E27FC236}">
                <a16:creationId xmlns:a16="http://schemas.microsoft.com/office/drawing/2014/main" id="{E53F94A5-AE46-4D80-8B17-322199D46E08}"/>
              </a:ext>
            </a:extLst>
          </p:cNvPr>
          <p:cNvSpPr>
            <a:spLocks noGrp="1"/>
          </p:cNvSpPr>
          <p:nvPr>
            <p:ph type="body" sz="half" idx="25"/>
          </p:nvPr>
        </p:nvSpPr>
        <p:spPr>
          <a:xfrm>
            <a:off x="1072320" y="823137"/>
            <a:ext cx="7707770" cy="518091"/>
          </a:xfrm>
        </p:spPr>
        <p:txBody>
          <a:bodyPr/>
          <a:lstStyle/>
          <a:p>
            <a:r>
              <a:rPr lang="en-US" sz="1050" b="1" dirty="0"/>
              <a:t>﻿Product groups can be divided into 4Quadrants on Volume-Mean CSP basis.</a:t>
            </a:r>
          </a:p>
          <a:p>
            <a:r>
              <a:rPr lang="en-US" sz="1050" b="1" dirty="0"/>
              <a:t>Products of a quadrant- channel-country behave similarly</a:t>
            </a:r>
          </a:p>
        </p:txBody>
      </p:sp>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a:xfrm>
            <a:off x="454023" y="362458"/>
            <a:ext cx="8141098" cy="466281"/>
          </a:xfrm>
        </p:spPr>
        <p:txBody>
          <a:bodyPr/>
          <a:lstStyle/>
          <a:p>
            <a:r>
              <a:rPr lang="en-US" dirty="0"/>
              <a:t>Quadrant behavior ?</a:t>
            </a:r>
            <a:endParaRPr lang="en-GB" dirty="0"/>
          </a:p>
        </p:txBody>
      </p:sp>
      <p:sp>
        <p:nvSpPr>
          <p:cNvPr id="13" name="Rectangle: Rounded Corners 12">
            <a:extLst>
              <a:ext uri="{FF2B5EF4-FFF2-40B4-BE49-F238E27FC236}">
                <a16:creationId xmlns:a16="http://schemas.microsoft.com/office/drawing/2014/main" id="{B2DE0ABF-EFFE-4955-9F73-DEEC789C4CD5}"/>
              </a:ext>
            </a:extLst>
          </p:cNvPr>
          <p:cNvSpPr/>
          <p:nvPr/>
        </p:nvSpPr>
        <p:spPr>
          <a:xfrm>
            <a:off x="4680449"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500" b="1" dirty="0">
                <a:solidFill>
                  <a:schemeClr val="tx1"/>
                </a:solidFill>
              </a:rPr>
              <a:t>Within-Groups products behave similarly</a:t>
            </a:r>
            <a:endParaRPr lang="en-GB" sz="1500" b="1" dirty="0">
              <a:solidFill>
                <a:schemeClr val="tx1"/>
              </a:solidFill>
            </a:endParaRPr>
          </a:p>
        </p:txBody>
      </p:sp>
      <p:sp>
        <p:nvSpPr>
          <p:cNvPr id="15" name="Rectangle: Rounded Corners 14">
            <a:extLst>
              <a:ext uri="{FF2B5EF4-FFF2-40B4-BE49-F238E27FC236}">
                <a16:creationId xmlns:a16="http://schemas.microsoft.com/office/drawing/2014/main" id="{A3AAA11E-189C-4733-A16A-DB08CD52FCDF}"/>
              </a:ext>
            </a:extLst>
          </p:cNvPr>
          <p:cNvSpPr/>
          <p:nvPr/>
        </p:nvSpPr>
        <p:spPr>
          <a:xfrm>
            <a:off x="591778"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26387251 is high volume Mid price segment</a:t>
            </a:r>
          </a:p>
        </p:txBody>
      </p:sp>
      <p:pic>
        <p:nvPicPr>
          <p:cNvPr id="27" name="Graphic 26" descr="Scientific Thought with solid fill">
            <a:extLst>
              <a:ext uri="{FF2B5EF4-FFF2-40B4-BE49-F238E27FC236}">
                <a16:creationId xmlns:a16="http://schemas.microsoft.com/office/drawing/2014/main" id="{290B8C10-2DB2-459E-8BFF-F80EE66810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0115" y="876424"/>
            <a:ext cx="465884" cy="465884"/>
          </a:xfrm>
          <a:prstGeom prst="rect">
            <a:avLst/>
          </a:prstGeom>
        </p:spPr>
      </p:pic>
      <p:sp>
        <p:nvSpPr>
          <p:cNvPr id="18" name="Rectangle 17">
            <a:extLst>
              <a:ext uri="{FF2B5EF4-FFF2-40B4-BE49-F238E27FC236}">
                <a16:creationId xmlns:a16="http://schemas.microsoft.com/office/drawing/2014/main" id="{6896A020-1DB3-4625-A055-0019EF707D28}"/>
              </a:ext>
            </a:extLst>
          </p:cNvPr>
          <p:cNvSpPr/>
          <p:nvPr/>
        </p:nvSpPr>
        <p:spPr>
          <a:xfrm>
            <a:off x="5013703" y="2405643"/>
            <a:ext cx="3401878" cy="1928709"/>
          </a:xfrm>
          <a:custGeom>
            <a:avLst/>
            <a:gdLst>
              <a:gd name="connsiteX0" fmla="*/ 0 w 1100379"/>
              <a:gd name="connsiteY0" fmla="*/ 0 h 1898948"/>
              <a:gd name="connsiteX1" fmla="*/ 1100379 w 1100379"/>
              <a:gd name="connsiteY1" fmla="*/ 0 h 1898948"/>
              <a:gd name="connsiteX2" fmla="*/ 1100379 w 1100379"/>
              <a:gd name="connsiteY2" fmla="*/ 1898948 h 1898948"/>
              <a:gd name="connsiteX3" fmla="*/ 0 w 1100379"/>
              <a:gd name="connsiteY3" fmla="*/ 1898948 h 1898948"/>
              <a:gd name="connsiteX4" fmla="*/ 0 w 1100379"/>
              <a:gd name="connsiteY4" fmla="*/ 0 h 1898948"/>
              <a:gd name="connsiteX0" fmla="*/ 170481 w 1100379"/>
              <a:gd name="connsiteY0" fmla="*/ 131736 h 1898948"/>
              <a:gd name="connsiteX1" fmla="*/ 1100379 w 1100379"/>
              <a:gd name="connsiteY1" fmla="*/ 0 h 1898948"/>
              <a:gd name="connsiteX2" fmla="*/ 1100379 w 1100379"/>
              <a:gd name="connsiteY2" fmla="*/ 1898948 h 1898948"/>
              <a:gd name="connsiteX3" fmla="*/ 0 w 1100379"/>
              <a:gd name="connsiteY3" fmla="*/ 1898948 h 1898948"/>
              <a:gd name="connsiteX4" fmla="*/ 170481 w 1100379"/>
              <a:gd name="connsiteY4" fmla="*/ 131736 h 1898948"/>
              <a:gd name="connsiteX0" fmla="*/ 170481 w 1100379"/>
              <a:gd name="connsiteY0" fmla="*/ 0 h 1767212"/>
              <a:gd name="connsiteX1" fmla="*/ 674176 w 1100379"/>
              <a:gd name="connsiteY1" fmla="*/ 38746 h 1767212"/>
              <a:gd name="connsiteX2" fmla="*/ 1100379 w 1100379"/>
              <a:gd name="connsiteY2" fmla="*/ 1767212 h 1767212"/>
              <a:gd name="connsiteX3" fmla="*/ 0 w 1100379"/>
              <a:gd name="connsiteY3" fmla="*/ 1767212 h 1767212"/>
              <a:gd name="connsiteX4" fmla="*/ 170481 w 1100379"/>
              <a:gd name="connsiteY4" fmla="*/ 0 h 1767212"/>
              <a:gd name="connsiteX0" fmla="*/ 170481 w 1100379"/>
              <a:gd name="connsiteY0" fmla="*/ 91754 h 1858966"/>
              <a:gd name="connsiteX1" fmla="*/ 674176 w 1100379"/>
              <a:gd name="connsiteY1" fmla="*/ 130500 h 1858966"/>
              <a:gd name="connsiteX2" fmla="*/ 1100379 w 1100379"/>
              <a:gd name="connsiteY2" fmla="*/ 1858966 h 1858966"/>
              <a:gd name="connsiteX3" fmla="*/ 0 w 1100379"/>
              <a:gd name="connsiteY3" fmla="*/ 1858966 h 1858966"/>
              <a:gd name="connsiteX4" fmla="*/ 170481 w 1100379"/>
              <a:gd name="connsiteY4" fmla="*/ 91754 h 1858966"/>
              <a:gd name="connsiteX0" fmla="*/ 774915 w 1704813"/>
              <a:gd name="connsiteY0" fmla="*/ 91754 h 1928709"/>
              <a:gd name="connsiteX1" fmla="*/ 1278610 w 1704813"/>
              <a:gd name="connsiteY1" fmla="*/ 130500 h 1928709"/>
              <a:gd name="connsiteX2" fmla="*/ 1704813 w 1704813"/>
              <a:gd name="connsiteY2" fmla="*/ 1858966 h 1928709"/>
              <a:gd name="connsiteX3" fmla="*/ 0 w 1704813"/>
              <a:gd name="connsiteY3" fmla="*/ 1928709 h 1928709"/>
              <a:gd name="connsiteX4" fmla="*/ 774915 w 1704813"/>
              <a:gd name="connsiteY4" fmla="*/ 91754 h 1928709"/>
              <a:gd name="connsiteX0" fmla="*/ 774915 w 3401878"/>
              <a:gd name="connsiteY0" fmla="*/ 91754 h 1928709"/>
              <a:gd name="connsiteX1" fmla="*/ 1278610 w 3401878"/>
              <a:gd name="connsiteY1" fmla="*/ 130500 h 1928709"/>
              <a:gd name="connsiteX2" fmla="*/ 3401878 w 3401878"/>
              <a:gd name="connsiteY2" fmla="*/ 1905461 h 1928709"/>
              <a:gd name="connsiteX3" fmla="*/ 0 w 3401878"/>
              <a:gd name="connsiteY3" fmla="*/ 1928709 h 1928709"/>
              <a:gd name="connsiteX4" fmla="*/ 774915 w 3401878"/>
              <a:gd name="connsiteY4" fmla="*/ 91754 h 1928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1878" h="1928709">
                <a:moveTo>
                  <a:pt x="774915" y="91754"/>
                </a:moveTo>
                <a:cubicBezTo>
                  <a:pt x="942813" y="104669"/>
                  <a:pt x="994475" y="-145886"/>
                  <a:pt x="1278610" y="130500"/>
                </a:cubicBezTo>
                <a:lnTo>
                  <a:pt x="3401878" y="1905461"/>
                </a:lnTo>
                <a:lnTo>
                  <a:pt x="0" y="1928709"/>
                </a:lnTo>
                <a:lnTo>
                  <a:pt x="774915" y="91754"/>
                </a:lnTo>
                <a:close/>
              </a:path>
            </a:pathLst>
          </a:cu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19" name="Oval 18">
            <a:extLst>
              <a:ext uri="{FF2B5EF4-FFF2-40B4-BE49-F238E27FC236}">
                <a16:creationId xmlns:a16="http://schemas.microsoft.com/office/drawing/2014/main" id="{89F1B9B1-43C7-4535-BF7A-1DF8DE327EA6}"/>
              </a:ext>
            </a:extLst>
          </p:cNvPr>
          <p:cNvSpPr/>
          <p:nvPr/>
        </p:nvSpPr>
        <p:spPr>
          <a:xfrm rot="5039476">
            <a:off x="1429527" y="2690174"/>
            <a:ext cx="540688" cy="1439732"/>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3" name="Oval 22">
            <a:extLst>
              <a:ext uri="{FF2B5EF4-FFF2-40B4-BE49-F238E27FC236}">
                <a16:creationId xmlns:a16="http://schemas.microsoft.com/office/drawing/2014/main" id="{7883ADC6-D10D-4A57-B837-7F08232F2905}"/>
              </a:ext>
            </a:extLst>
          </p:cNvPr>
          <p:cNvSpPr/>
          <p:nvPr/>
        </p:nvSpPr>
        <p:spPr>
          <a:xfrm rot="910980">
            <a:off x="851449" y="2327966"/>
            <a:ext cx="333436" cy="960264"/>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5" name="Oval 24">
            <a:extLst>
              <a:ext uri="{FF2B5EF4-FFF2-40B4-BE49-F238E27FC236}">
                <a16:creationId xmlns:a16="http://schemas.microsoft.com/office/drawing/2014/main" id="{206CDBEC-7920-4085-B915-A1E29816B05B}"/>
              </a:ext>
            </a:extLst>
          </p:cNvPr>
          <p:cNvSpPr/>
          <p:nvPr/>
        </p:nvSpPr>
        <p:spPr>
          <a:xfrm rot="5039476">
            <a:off x="3125336" y="3072501"/>
            <a:ext cx="540688" cy="420758"/>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pic>
        <p:nvPicPr>
          <p:cNvPr id="29" name="Graphic 28" descr="Shopping cart with solid fill">
            <a:extLst>
              <a:ext uri="{FF2B5EF4-FFF2-40B4-BE49-F238E27FC236}">
                <a16:creationId xmlns:a16="http://schemas.microsoft.com/office/drawing/2014/main" id="{8E526ADC-DF87-4AFD-9A40-D327ED179B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25909" y="0"/>
            <a:ext cx="518091" cy="518091"/>
          </a:xfrm>
          <a:prstGeom prst="rect">
            <a:avLst/>
          </a:prstGeom>
        </p:spPr>
      </p:pic>
      <p:pic>
        <p:nvPicPr>
          <p:cNvPr id="30" name="Picture 29" descr="insights-icon - GeoPoll">
            <a:extLst>
              <a:ext uri="{FF2B5EF4-FFF2-40B4-BE49-F238E27FC236}">
                <a16:creationId xmlns:a16="http://schemas.microsoft.com/office/drawing/2014/main" id="{15416AA8-D005-48D0-BBC2-9086075CD817}"/>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94" y="1389993"/>
            <a:ext cx="778960" cy="7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8048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39738E-DDC4-4968-A322-160004680CAA}"/>
              </a:ext>
            </a:extLst>
          </p:cNvPr>
          <p:cNvPicPr>
            <a:picLocks noChangeAspect="1"/>
          </p:cNvPicPr>
          <p:nvPr/>
        </p:nvPicPr>
        <p:blipFill>
          <a:blip r:embed="rId2"/>
          <a:stretch>
            <a:fillRect/>
          </a:stretch>
        </p:blipFill>
        <p:spPr>
          <a:xfrm>
            <a:off x="591778" y="2130329"/>
            <a:ext cx="3906335" cy="2507469"/>
          </a:xfrm>
          <a:prstGeom prst="rect">
            <a:avLst/>
          </a:prstGeom>
        </p:spPr>
      </p:pic>
      <p:sp>
        <p:nvSpPr>
          <p:cNvPr id="6" name="Text Placeholder 5">
            <a:extLst>
              <a:ext uri="{FF2B5EF4-FFF2-40B4-BE49-F238E27FC236}">
                <a16:creationId xmlns:a16="http://schemas.microsoft.com/office/drawing/2014/main" id="{E53F94A5-AE46-4D80-8B17-322199D46E08}"/>
              </a:ext>
            </a:extLst>
          </p:cNvPr>
          <p:cNvSpPr>
            <a:spLocks noGrp="1"/>
          </p:cNvSpPr>
          <p:nvPr>
            <p:ph type="body" sz="half" idx="25"/>
          </p:nvPr>
        </p:nvSpPr>
        <p:spPr>
          <a:xfrm>
            <a:off x="1072320" y="823137"/>
            <a:ext cx="7707770" cy="518091"/>
          </a:xfrm>
        </p:spPr>
        <p:txBody>
          <a:bodyPr/>
          <a:lstStyle/>
          <a:p>
            <a:r>
              <a:rPr lang="en-US" sz="1050" b="1" dirty="0"/>
              <a:t>﻿Significant variation of Volume between Channels &amp; Countries</a:t>
            </a:r>
          </a:p>
          <a:p>
            <a:r>
              <a:rPr lang="en-GB" sz="1050" b="1" dirty="0">
                <a:solidFill>
                  <a:schemeClr val="tx1"/>
                </a:solidFill>
              </a:rPr>
              <a:t>Significant variation of Selling Price between Channels &amp; Countries</a:t>
            </a:r>
          </a:p>
        </p:txBody>
      </p:sp>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a:xfrm>
            <a:off x="454023" y="362458"/>
            <a:ext cx="8141098" cy="466281"/>
          </a:xfrm>
        </p:spPr>
        <p:txBody>
          <a:bodyPr/>
          <a:lstStyle/>
          <a:p>
            <a:r>
              <a:rPr lang="en-US" dirty="0"/>
              <a:t>Channel – Country behavior ?</a:t>
            </a:r>
            <a:endParaRPr lang="en-GB" dirty="0"/>
          </a:p>
        </p:txBody>
      </p:sp>
      <p:sp>
        <p:nvSpPr>
          <p:cNvPr id="13" name="Rectangle: Rounded Corners 12">
            <a:extLst>
              <a:ext uri="{FF2B5EF4-FFF2-40B4-BE49-F238E27FC236}">
                <a16:creationId xmlns:a16="http://schemas.microsoft.com/office/drawing/2014/main" id="{B2DE0ABF-EFFE-4955-9F73-DEEC789C4CD5}"/>
              </a:ext>
            </a:extLst>
          </p:cNvPr>
          <p:cNvSpPr/>
          <p:nvPr/>
        </p:nvSpPr>
        <p:spPr>
          <a:xfrm>
            <a:off x="4680449" y="1497095"/>
            <a:ext cx="3914672" cy="465623"/>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Significant variation of Selling Price between Channels &amp; Countries</a:t>
            </a:r>
          </a:p>
        </p:txBody>
      </p:sp>
      <p:sp>
        <p:nvSpPr>
          <p:cNvPr id="15" name="Rectangle: Rounded Corners 14">
            <a:extLst>
              <a:ext uri="{FF2B5EF4-FFF2-40B4-BE49-F238E27FC236}">
                <a16:creationId xmlns:a16="http://schemas.microsoft.com/office/drawing/2014/main" id="{A3AAA11E-189C-4733-A16A-DB08CD52FCDF}"/>
              </a:ext>
            </a:extLst>
          </p:cNvPr>
          <p:cNvSpPr/>
          <p:nvPr/>
        </p:nvSpPr>
        <p:spPr>
          <a:xfrm>
            <a:off x="591778" y="1496437"/>
            <a:ext cx="3914672" cy="466281"/>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Significant variation of Volume between Channels &amp; Countries</a:t>
            </a:r>
          </a:p>
        </p:txBody>
      </p:sp>
      <p:pic>
        <p:nvPicPr>
          <p:cNvPr id="27" name="Graphic 26" descr="Scientific Thought with solid fill">
            <a:extLst>
              <a:ext uri="{FF2B5EF4-FFF2-40B4-BE49-F238E27FC236}">
                <a16:creationId xmlns:a16="http://schemas.microsoft.com/office/drawing/2014/main" id="{290B8C10-2DB2-459E-8BFF-F80EE66810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0115" y="876424"/>
            <a:ext cx="465884" cy="465884"/>
          </a:xfrm>
          <a:prstGeom prst="rect">
            <a:avLst/>
          </a:prstGeom>
        </p:spPr>
      </p:pic>
      <p:sp>
        <p:nvSpPr>
          <p:cNvPr id="19" name="Oval 18">
            <a:extLst>
              <a:ext uri="{FF2B5EF4-FFF2-40B4-BE49-F238E27FC236}">
                <a16:creationId xmlns:a16="http://schemas.microsoft.com/office/drawing/2014/main" id="{89F1B9B1-43C7-4535-BF7A-1DF8DE327EA6}"/>
              </a:ext>
            </a:extLst>
          </p:cNvPr>
          <p:cNvSpPr/>
          <p:nvPr/>
        </p:nvSpPr>
        <p:spPr>
          <a:xfrm>
            <a:off x="2544945" y="2571750"/>
            <a:ext cx="540688" cy="1822019"/>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3" name="Oval 22">
            <a:extLst>
              <a:ext uri="{FF2B5EF4-FFF2-40B4-BE49-F238E27FC236}">
                <a16:creationId xmlns:a16="http://schemas.microsoft.com/office/drawing/2014/main" id="{7883ADC6-D10D-4A57-B837-7F08232F2905}"/>
              </a:ext>
            </a:extLst>
          </p:cNvPr>
          <p:cNvSpPr/>
          <p:nvPr/>
        </p:nvSpPr>
        <p:spPr>
          <a:xfrm>
            <a:off x="899281" y="3954236"/>
            <a:ext cx="333436" cy="611643"/>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pic>
        <p:nvPicPr>
          <p:cNvPr id="7" name="Picture 6">
            <a:extLst>
              <a:ext uri="{FF2B5EF4-FFF2-40B4-BE49-F238E27FC236}">
                <a16:creationId xmlns:a16="http://schemas.microsoft.com/office/drawing/2014/main" id="{ADA2211E-734D-4468-B4DA-7E376893308F}"/>
              </a:ext>
            </a:extLst>
          </p:cNvPr>
          <p:cNvPicPr>
            <a:picLocks noChangeAspect="1"/>
          </p:cNvPicPr>
          <p:nvPr/>
        </p:nvPicPr>
        <p:blipFill>
          <a:blip r:embed="rId5"/>
          <a:stretch>
            <a:fillRect/>
          </a:stretch>
        </p:blipFill>
        <p:spPr>
          <a:xfrm>
            <a:off x="4737477" y="2072281"/>
            <a:ext cx="3585945" cy="2507468"/>
          </a:xfrm>
          <a:prstGeom prst="rect">
            <a:avLst/>
          </a:prstGeom>
        </p:spPr>
      </p:pic>
      <p:sp>
        <p:nvSpPr>
          <p:cNvPr id="20" name="Oval 19">
            <a:extLst>
              <a:ext uri="{FF2B5EF4-FFF2-40B4-BE49-F238E27FC236}">
                <a16:creationId xmlns:a16="http://schemas.microsoft.com/office/drawing/2014/main" id="{284D1848-FDDF-425F-B69D-04C26D3559F4}"/>
              </a:ext>
            </a:extLst>
          </p:cNvPr>
          <p:cNvSpPr/>
          <p:nvPr/>
        </p:nvSpPr>
        <p:spPr>
          <a:xfrm>
            <a:off x="6637785" y="2571750"/>
            <a:ext cx="414615" cy="842143"/>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4" name="Oval 23">
            <a:extLst>
              <a:ext uri="{FF2B5EF4-FFF2-40B4-BE49-F238E27FC236}">
                <a16:creationId xmlns:a16="http://schemas.microsoft.com/office/drawing/2014/main" id="{E459633D-8B17-416F-AE71-4DC5499387CF}"/>
              </a:ext>
            </a:extLst>
          </p:cNvPr>
          <p:cNvSpPr/>
          <p:nvPr/>
        </p:nvSpPr>
        <p:spPr>
          <a:xfrm>
            <a:off x="7588347" y="3011374"/>
            <a:ext cx="414615" cy="842143"/>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6" name="Oval 25">
            <a:extLst>
              <a:ext uri="{FF2B5EF4-FFF2-40B4-BE49-F238E27FC236}">
                <a16:creationId xmlns:a16="http://schemas.microsoft.com/office/drawing/2014/main" id="{1C0354EC-D81B-47F2-A706-D3FDD57879A9}"/>
              </a:ext>
            </a:extLst>
          </p:cNvPr>
          <p:cNvSpPr/>
          <p:nvPr/>
        </p:nvSpPr>
        <p:spPr>
          <a:xfrm>
            <a:off x="5065709" y="2483872"/>
            <a:ext cx="414615" cy="842143"/>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9" name="Oval 28">
            <a:extLst>
              <a:ext uri="{FF2B5EF4-FFF2-40B4-BE49-F238E27FC236}">
                <a16:creationId xmlns:a16="http://schemas.microsoft.com/office/drawing/2014/main" id="{ACBD28C5-DD26-4073-B0B7-89726CF27A35}"/>
              </a:ext>
            </a:extLst>
          </p:cNvPr>
          <p:cNvSpPr/>
          <p:nvPr/>
        </p:nvSpPr>
        <p:spPr>
          <a:xfrm>
            <a:off x="5936503" y="3112093"/>
            <a:ext cx="414615" cy="842143"/>
          </a:xfrm>
          <a:prstGeom prst="ellipse">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pic>
        <p:nvPicPr>
          <p:cNvPr id="30" name="Picture 29" descr="insights-icon - GeoPoll">
            <a:extLst>
              <a:ext uri="{FF2B5EF4-FFF2-40B4-BE49-F238E27FC236}">
                <a16:creationId xmlns:a16="http://schemas.microsoft.com/office/drawing/2014/main" id="{526E3FBD-5157-4FAC-B364-26A201C31AAF}"/>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94" y="1389993"/>
            <a:ext cx="778960" cy="778960"/>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Supply And Demand with solid fill">
            <a:extLst>
              <a:ext uri="{FF2B5EF4-FFF2-40B4-BE49-F238E27FC236}">
                <a16:creationId xmlns:a16="http://schemas.microsoft.com/office/drawing/2014/main" id="{94426087-343E-4ECA-9549-F2088DE7CB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30756" y="-45974"/>
            <a:ext cx="713244" cy="713244"/>
          </a:xfrm>
          <a:prstGeom prst="rect">
            <a:avLst/>
          </a:prstGeom>
        </p:spPr>
      </p:pic>
    </p:spTree>
    <p:extLst>
      <p:ext uri="{BB962C8B-B14F-4D97-AF65-F5344CB8AC3E}">
        <p14:creationId xmlns:p14="http://schemas.microsoft.com/office/powerpoint/2010/main" val="1937269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2028FE-FC7A-4899-B507-56DA4CB7B763}"/>
              </a:ext>
            </a:extLst>
          </p:cNvPr>
          <p:cNvSpPr>
            <a:spLocks noGrp="1"/>
          </p:cNvSpPr>
          <p:nvPr>
            <p:ph type="body" sz="quarter" idx="12"/>
          </p:nvPr>
        </p:nvSpPr>
        <p:spPr/>
        <p:txBody>
          <a:bodyPr/>
          <a:lstStyle/>
          <a:p>
            <a:r>
              <a:rPr lang="en-IN" dirty="0"/>
              <a:t>|C</a:t>
            </a:r>
          </a:p>
        </p:txBody>
      </p:sp>
      <p:sp>
        <p:nvSpPr>
          <p:cNvPr id="3" name="Title 2">
            <a:extLst>
              <a:ext uri="{FF2B5EF4-FFF2-40B4-BE49-F238E27FC236}">
                <a16:creationId xmlns:a16="http://schemas.microsoft.com/office/drawing/2014/main" id="{2548CBD9-BE72-4CF0-B14F-11EBDD5687BA}"/>
              </a:ext>
            </a:extLst>
          </p:cNvPr>
          <p:cNvSpPr>
            <a:spLocks noGrp="1"/>
          </p:cNvSpPr>
          <p:nvPr>
            <p:ph type="title"/>
          </p:nvPr>
        </p:nvSpPr>
        <p:spPr>
          <a:xfrm>
            <a:off x="1615315" y="3529841"/>
            <a:ext cx="7163076" cy="653256"/>
          </a:xfrm>
        </p:spPr>
        <p:txBody>
          <a:bodyPr/>
          <a:lstStyle/>
          <a:p>
            <a:r>
              <a:rPr lang="en-IN" sz="4050" dirty="0"/>
              <a:t>VOLUME – PRICE EQUATION</a:t>
            </a:r>
          </a:p>
        </p:txBody>
      </p:sp>
      <p:pic>
        <p:nvPicPr>
          <p:cNvPr id="5" name="Picture 2" descr="Formula FX icon PNG and SVG Vector Free Download">
            <a:extLst>
              <a:ext uri="{FF2B5EF4-FFF2-40B4-BE49-F238E27FC236}">
                <a16:creationId xmlns:a16="http://schemas.microsoft.com/office/drawing/2014/main" id="{88B1EF82-5CAF-4ADA-AFD2-BE2648F418B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4557" y="0"/>
            <a:ext cx="489443" cy="491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140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25" name="Text Placeholder 8">
            <a:extLst>
              <a:ext uri="{FF2B5EF4-FFF2-40B4-BE49-F238E27FC236}">
                <a16:creationId xmlns:a16="http://schemas.microsoft.com/office/drawing/2014/main" id="{FD0B379E-0847-4905-9636-0D3FCCFA5374}"/>
              </a:ext>
            </a:extLst>
          </p:cNvPr>
          <p:cNvSpPr txBox="1">
            <a:spLocks/>
          </p:cNvSpPr>
          <p:nvPr/>
        </p:nvSpPr>
        <p:spPr>
          <a:xfrm>
            <a:off x="533398" y="476901"/>
            <a:ext cx="2256297" cy="999473"/>
          </a:xfrm>
          <a:prstGeom prst="roundRect">
            <a:avLst>
              <a:gd name="adj" fmla="val 7772"/>
            </a:avLst>
          </a:prstGeom>
          <a:solidFill>
            <a:schemeClr val="bg1">
              <a:lumMod val="85000"/>
            </a:schemeClr>
          </a:solidFill>
        </p:spPr>
        <p:txBody>
          <a:bodyPr vert="horz" wrap="square" lIns="91440" tIns="45720" rIns="91440" bIns="45720" rtlCol="0" anchor="ctr">
            <a:noAutofit/>
          </a:bodyPr>
          <a:lstStyle>
            <a:lvl1pPr marL="10800" indent="0" algn="l" defTabSz="685800" rtl="0" eaLnBrk="1" latinLnBrk="0" hangingPunct="1">
              <a:lnSpc>
                <a:spcPct val="100000"/>
              </a:lnSpc>
              <a:spcBef>
                <a:spcPts val="0"/>
              </a:spcBef>
              <a:buFont typeface="Arial" panose="020B0604020202020204" pitchFamily="34" charset="0"/>
              <a:buNone/>
              <a:defRPr sz="1950" b="1"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dirty="0"/>
          </a:p>
        </p:txBody>
      </p:sp>
      <p:sp>
        <p:nvSpPr>
          <p:cNvPr id="8" name="Text Placeholder 7">
            <a:extLst>
              <a:ext uri="{FF2B5EF4-FFF2-40B4-BE49-F238E27FC236}">
                <a16:creationId xmlns:a16="http://schemas.microsoft.com/office/drawing/2014/main" id="{087E3C6D-4F35-4B91-A8D2-C5CA64A080A3}"/>
              </a:ext>
            </a:extLst>
          </p:cNvPr>
          <p:cNvSpPr>
            <a:spLocks noGrp="1"/>
          </p:cNvSpPr>
          <p:nvPr>
            <p:ph type="body" sz="quarter" idx="19"/>
          </p:nvPr>
        </p:nvSpPr>
        <p:spPr>
          <a:xfrm>
            <a:off x="1067477" y="647325"/>
            <a:ext cx="1803121" cy="372785"/>
          </a:xfrm>
        </p:spPr>
        <p:txBody>
          <a:bodyPr/>
          <a:lstStyle/>
          <a:p>
            <a:r>
              <a:rPr lang="en-US" dirty="0"/>
              <a:t>9%</a:t>
            </a:r>
            <a:r>
              <a:rPr lang="el-GR" dirty="0"/>
              <a:t> Δ</a:t>
            </a:r>
            <a:r>
              <a:rPr lang="en-US" dirty="0"/>
              <a:t>CSP/OSP</a:t>
            </a:r>
            <a:endParaRPr lang="en-GB" dirty="0"/>
          </a:p>
        </p:txBody>
      </p:sp>
      <p:sp>
        <p:nvSpPr>
          <p:cNvPr id="11" name="Text Placeholder 10">
            <a:extLst>
              <a:ext uri="{FF2B5EF4-FFF2-40B4-BE49-F238E27FC236}">
                <a16:creationId xmlns:a16="http://schemas.microsoft.com/office/drawing/2014/main" id="{4A6559A2-AD39-4702-9265-1E67064DF487}"/>
              </a:ext>
            </a:extLst>
          </p:cNvPr>
          <p:cNvSpPr>
            <a:spLocks noGrp="1"/>
          </p:cNvSpPr>
          <p:nvPr>
            <p:ph type="body" sz="quarter" idx="32"/>
          </p:nvPr>
        </p:nvSpPr>
        <p:spPr/>
        <p:txBody>
          <a:bodyPr/>
          <a:lstStyle/>
          <a:p>
            <a:pPr marL="0" lvl="0" indent="0" algn="l" rtl="0">
              <a:lnSpc>
                <a:spcPct val="100000"/>
              </a:lnSpc>
              <a:spcBef>
                <a:spcPts val="0"/>
              </a:spcBef>
              <a:spcAft>
                <a:spcPts val="0"/>
              </a:spcAft>
              <a:buNone/>
            </a:pPr>
            <a:r>
              <a:rPr lang="en-US" sz="1200" b="1" dirty="0"/>
              <a:t>Assumptions :</a:t>
            </a:r>
          </a:p>
          <a:p>
            <a:pPr marL="0" lvl="0" indent="0" algn="l" rtl="0">
              <a:lnSpc>
                <a:spcPct val="100000"/>
              </a:lnSpc>
              <a:spcBef>
                <a:spcPts val="0"/>
              </a:spcBef>
              <a:spcAft>
                <a:spcPts val="0"/>
              </a:spcAft>
              <a:buNone/>
            </a:pPr>
            <a:endParaRPr lang="en-US" sz="1200" b="1" dirty="0"/>
          </a:p>
          <a:p>
            <a:pPr marL="457200" lvl="0" indent="-304800" algn="l" rtl="0">
              <a:lnSpc>
                <a:spcPct val="100000"/>
              </a:lnSpc>
              <a:spcBef>
                <a:spcPts val="400"/>
              </a:spcBef>
              <a:spcAft>
                <a:spcPts val="0"/>
              </a:spcAft>
              <a:buSzPts val="1200"/>
              <a:buChar char="●"/>
            </a:pPr>
            <a:r>
              <a:rPr lang="en-US" sz="1200" dirty="0"/>
              <a:t>Minimum Cost price is assumed to be 50% of Lowest Selling Price.</a:t>
            </a:r>
          </a:p>
          <a:p>
            <a:pPr marL="457200" lvl="0" indent="-304800" algn="l" rtl="0">
              <a:lnSpc>
                <a:spcPct val="100000"/>
              </a:lnSpc>
              <a:spcBef>
                <a:spcPts val="400"/>
              </a:spcBef>
              <a:spcAft>
                <a:spcPts val="0"/>
              </a:spcAft>
              <a:buSzPts val="1200"/>
              <a:buChar char="●"/>
            </a:pPr>
            <a:r>
              <a:rPr lang="en-US" dirty="0"/>
              <a:t>Maximum Cost price is assumed to either 25,33, or 40% of Lowest Selling price depending upon the product group</a:t>
            </a:r>
            <a:r>
              <a:rPr lang="en-US" sz="1200" dirty="0"/>
              <a:t>  </a:t>
            </a:r>
          </a:p>
          <a:p>
            <a:pPr marL="457200" lvl="0" indent="-304800" algn="l" rtl="0">
              <a:lnSpc>
                <a:spcPct val="100000"/>
              </a:lnSpc>
              <a:spcBef>
                <a:spcPts val="400"/>
              </a:spcBef>
              <a:spcAft>
                <a:spcPts val="0"/>
              </a:spcAft>
              <a:buSzPts val="1200"/>
              <a:buChar char="●"/>
            </a:pPr>
            <a:r>
              <a:rPr lang="en-US" sz="1200" dirty="0"/>
              <a:t>Minimum Selling price between Maximum Original Price and Maximu</a:t>
            </a:r>
            <a:r>
              <a:rPr lang="en-US" dirty="0"/>
              <a:t>m Cost price</a:t>
            </a:r>
          </a:p>
          <a:p>
            <a:pPr marL="152400" lvl="0" algn="l" rtl="0">
              <a:lnSpc>
                <a:spcPct val="100000"/>
              </a:lnSpc>
              <a:spcBef>
                <a:spcPts val="400"/>
              </a:spcBef>
              <a:spcAft>
                <a:spcPts val="0"/>
              </a:spcAft>
              <a:buSzPts val="1200"/>
            </a:pPr>
            <a:endParaRPr lang="en-US" sz="1200" b="1" dirty="0"/>
          </a:p>
          <a:p>
            <a:pPr marL="0" lvl="0" indent="0" algn="l" rtl="0">
              <a:lnSpc>
                <a:spcPct val="100000"/>
              </a:lnSpc>
              <a:spcBef>
                <a:spcPts val="400"/>
              </a:spcBef>
              <a:spcAft>
                <a:spcPts val="0"/>
              </a:spcAft>
              <a:buNone/>
            </a:pPr>
            <a:r>
              <a:rPr lang="en-US" sz="1200" b="1" dirty="0"/>
              <a:t>Observations :</a:t>
            </a:r>
          </a:p>
          <a:p>
            <a:pPr marL="457200" lvl="0" indent="-304800" algn="l" rtl="0">
              <a:lnSpc>
                <a:spcPct val="100000"/>
              </a:lnSpc>
              <a:spcBef>
                <a:spcPts val="400"/>
              </a:spcBef>
              <a:spcAft>
                <a:spcPts val="0"/>
              </a:spcAft>
              <a:buClr>
                <a:srgbClr val="666666"/>
              </a:buClr>
              <a:buSzPts val="1200"/>
              <a:buChar char="●"/>
            </a:pPr>
            <a:r>
              <a:rPr lang="en-US" sz="1200" dirty="0">
                <a:solidFill>
                  <a:srgbClr val="666666"/>
                </a:solidFill>
              </a:rPr>
              <a:t>Correlation between Sales and price is high and exhibit temporal behavior.</a:t>
            </a:r>
          </a:p>
          <a:p>
            <a:pPr marL="457200" lvl="0" indent="-304800" algn="l" rtl="0">
              <a:lnSpc>
                <a:spcPct val="100000"/>
              </a:lnSpc>
              <a:spcBef>
                <a:spcPts val="400"/>
              </a:spcBef>
              <a:spcAft>
                <a:spcPts val="400"/>
              </a:spcAft>
              <a:buClr>
                <a:srgbClr val="666666"/>
              </a:buClr>
              <a:buSzPts val="1200"/>
              <a:buChar char="●"/>
            </a:pPr>
            <a:r>
              <a:rPr lang="en-US" sz="1200" dirty="0">
                <a:solidFill>
                  <a:srgbClr val="666666"/>
                </a:solidFill>
              </a:rPr>
              <a:t>Some combinations have a seasonal behavior picking up in March and the falling back to September and again rising.</a:t>
            </a:r>
          </a:p>
          <a:p>
            <a:pPr marL="457200" lvl="0" indent="-304800" algn="l" rtl="0">
              <a:lnSpc>
                <a:spcPct val="100000"/>
              </a:lnSpc>
              <a:spcBef>
                <a:spcPts val="400"/>
              </a:spcBef>
              <a:spcAft>
                <a:spcPts val="400"/>
              </a:spcAft>
              <a:buClr>
                <a:srgbClr val="666666"/>
              </a:buClr>
              <a:buSzPts val="1200"/>
              <a:buChar char="●"/>
            </a:pPr>
            <a:r>
              <a:rPr lang="en-US" sz="1200" dirty="0">
                <a:solidFill>
                  <a:srgbClr val="666666"/>
                </a:solidFill>
              </a:rPr>
              <a:t>Sales are quite low in September.</a:t>
            </a:r>
          </a:p>
          <a:p>
            <a:pPr marL="457200" indent="-304800">
              <a:spcBef>
                <a:spcPts val="400"/>
              </a:spcBef>
              <a:spcAft>
                <a:spcPts val="400"/>
              </a:spcAft>
              <a:buClr>
                <a:srgbClr val="666666"/>
              </a:buClr>
              <a:buSzPts val="1200"/>
              <a:buFont typeface="Arial" panose="020B0604020202020204" pitchFamily="34" charset="0"/>
              <a:buChar char="●"/>
            </a:pPr>
            <a:r>
              <a:rPr lang="en-US" dirty="0">
                <a:solidFill>
                  <a:srgbClr val="666666"/>
                </a:solidFill>
              </a:rPr>
              <a:t>Price Change w.r.t Original and Previous price have been found informative features</a:t>
            </a:r>
          </a:p>
          <a:p>
            <a:pPr marL="457200" lvl="0" indent="-304800" algn="l" rtl="0">
              <a:lnSpc>
                <a:spcPct val="100000"/>
              </a:lnSpc>
              <a:spcBef>
                <a:spcPts val="400"/>
              </a:spcBef>
              <a:spcAft>
                <a:spcPts val="400"/>
              </a:spcAft>
              <a:buClr>
                <a:srgbClr val="666666"/>
              </a:buClr>
              <a:buSzPts val="1200"/>
              <a:buChar char="●"/>
            </a:pPr>
            <a:r>
              <a:rPr lang="en-GB" dirty="0">
                <a:solidFill>
                  <a:srgbClr val="666666"/>
                </a:solidFill>
              </a:rPr>
              <a:t>Within-groups products are behaving similarly</a:t>
            </a:r>
          </a:p>
        </p:txBody>
      </p:sp>
      <p:sp>
        <p:nvSpPr>
          <p:cNvPr id="9" name="Text Placeholder 8">
            <a:extLst>
              <a:ext uri="{FF2B5EF4-FFF2-40B4-BE49-F238E27FC236}">
                <a16:creationId xmlns:a16="http://schemas.microsoft.com/office/drawing/2014/main" id="{55C7352F-88EC-458D-8BB6-1F84931A90FB}"/>
              </a:ext>
            </a:extLst>
          </p:cNvPr>
          <p:cNvSpPr>
            <a:spLocks noGrp="1"/>
          </p:cNvSpPr>
          <p:nvPr>
            <p:ph type="body" sz="quarter" idx="22"/>
          </p:nvPr>
        </p:nvSpPr>
        <p:spPr>
          <a:xfrm>
            <a:off x="2867186" y="476902"/>
            <a:ext cx="5733887" cy="999473"/>
          </a:xfrm>
        </p:spPr>
        <p:txBody>
          <a:bodyPr/>
          <a:lstStyle/>
          <a:p>
            <a:r>
              <a:rPr lang="en" dirty="0"/>
              <a:t>Assumptions and Observations </a:t>
            </a:r>
            <a:endParaRPr lang="en-GB" dirty="0"/>
          </a:p>
        </p:txBody>
      </p:sp>
      <p:sp>
        <p:nvSpPr>
          <p:cNvPr id="18" name="Text Placeholder 17">
            <a:extLst>
              <a:ext uri="{FF2B5EF4-FFF2-40B4-BE49-F238E27FC236}">
                <a16:creationId xmlns:a16="http://schemas.microsoft.com/office/drawing/2014/main" id="{073C563E-C0EA-4AD4-A968-2571A803190A}"/>
              </a:ext>
            </a:extLst>
          </p:cNvPr>
          <p:cNvSpPr>
            <a:spLocks noGrp="1"/>
          </p:cNvSpPr>
          <p:nvPr>
            <p:ph type="body" sz="quarter" idx="37"/>
          </p:nvPr>
        </p:nvSpPr>
        <p:spPr>
          <a:xfrm flipV="1">
            <a:off x="702355" y="886823"/>
            <a:ext cx="365122" cy="372785"/>
          </a:xfrm>
          <a:solidFill>
            <a:srgbClr val="FF0000"/>
          </a:solidFill>
        </p:spPr>
        <p:txBody>
          <a:bodyPr/>
          <a:lstStyle/>
          <a:p>
            <a:endParaRPr lang="en-GB" dirty="0"/>
          </a:p>
        </p:txBody>
      </p:sp>
      <p:sp>
        <p:nvSpPr>
          <p:cNvPr id="26" name="Text Placeholder 7">
            <a:extLst>
              <a:ext uri="{FF2B5EF4-FFF2-40B4-BE49-F238E27FC236}">
                <a16:creationId xmlns:a16="http://schemas.microsoft.com/office/drawing/2014/main" id="{6BF9CFE2-9AF6-4B14-9F10-360E41074299}"/>
              </a:ext>
            </a:extLst>
          </p:cNvPr>
          <p:cNvSpPr txBox="1">
            <a:spLocks/>
          </p:cNvSpPr>
          <p:nvPr/>
        </p:nvSpPr>
        <p:spPr>
          <a:xfrm>
            <a:off x="1067477" y="989357"/>
            <a:ext cx="1803121" cy="372785"/>
          </a:xfrm>
          <a:prstGeom prst="rect">
            <a:avLst/>
          </a:prstGeom>
        </p:spPr>
        <p:txBody>
          <a:bodyPr vert="horz" lIns="91440" tIns="36000" rIns="91440" bIns="36000" rtlCol="0" anchor="ctr" anchorCtr="0">
            <a:spAutoFit/>
          </a:bodyPr>
          <a:lstStyle>
            <a:lvl1pPr marL="0" indent="0" algn="l" defTabSz="685800" rtl="0" eaLnBrk="1" latinLnBrk="0" hangingPunct="1">
              <a:lnSpc>
                <a:spcPct val="100000"/>
              </a:lnSpc>
              <a:spcBef>
                <a:spcPts val="750"/>
              </a:spcBef>
              <a:buFont typeface="Arial" panose="020B0604020202020204" pitchFamily="34" charset="0"/>
              <a:buNone/>
              <a:defRPr sz="1950" b="1"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9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4%</a:t>
            </a:r>
            <a:r>
              <a:rPr lang="el-GR" dirty="0"/>
              <a:t> Δ</a:t>
            </a:r>
            <a:r>
              <a:rPr lang="en-US" dirty="0"/>
              <a:t>PSP/OSP</a:t>
            </a:r>
            <a:endParaRPr lang="en-GB" dirty="0"/>
          </a:p>
        </p:txBody>
      </p:sp>
      <p:pic>
        <p:nvPicPr>
          <p:cNvPr id="27" name="Picture 2" descr="Formula FX icon PNG and SVG Vector Free Download">
            <a:extLst>
              <a:ext uri="{FF2B5EF4-FFF2-40B4-BE49-F238E27FC236}">
                <a16:creationId xmlns:a16="http://schemas.microsoft.com/office/drawing/2014/main" id="{B28965D3-543A-4CAC-97C0-5691B84313B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4557" y="0"/>
            <a:ext cx="489443" cy="4916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Volume–Price equation deep dive</a:t>
            </a:r>
            <a:endParaRPr lang="en-GB" dirty="0"/>
          </a:p>
        </p:txBody>
      </p:sp>
      <p:sp>
        <p:nvSpPr>
          <p:cNvPr id="21" name="Google Shape;109;p17">
            <a:extLst>
              <a:ext uri="{FF2B5EF4-FFF2-40B4-BE49-F238E27FC236}">
                <a16:creationId xmlns:a16="http://schemas.microsoft.com/office/drawing/2014/main" id="{E40D3A11-A456-48EE-A7D8-4CD2480A0F66}"/>
              </a:ext>
            </a:extLst>
          </p:cNvPr>
          <p:cNvSpPr txBox="1">
            <a:spLocks/>
          </p:cNvSpPr>
          <p:nvPr/>
        </p:nvSpPr>
        <p:spPr>
          <a:xfrm>
            <a:off x="69742" y="1593347"/>
            <a:ext cx="4827015" cy="3387296"/>
          </a:xfrm>
          <a:prstGeom prst="rect">
            <a:avLst/>
          </a:prstGeom>
        </p:spPr>
        <p:txBody>
          <a:bodyPr spcFirstLastPara="1" wrap="square" lIns="91425" tIns="91425" rIns="91425" bIns="91425" anchor="t" anchorCtr="0">
            <a:normAutofit fontScale="2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317500">
              <a:lnSpc>
                <a:spcPct val="95000"/>
              </a:lnSpc>
              <a:spcBef>
                <a:spcPts val="1200"/>
              </a:spcBef>
              <a:buSzPct val="100000"/>
              <a:buFont typeface="Arial" panose="020B0604020202020204" pitchFamily="34" charset="0"/>
              <a:buChar char="●"/>
            </a:pPr>
            <a:r>
              <a:rPr lang="en-US" sz="5600" dirty="0">
                <a:solidFill>
                  <a:srgbClr val="000000"/>
                </a:solidFill>
              </a:rPr>
              <a:t>Fit Level :</a:t>
            </a:r>
          </a:p>
          <a:p>
            <a:pPr marL="800100" lvl="1" indent="-317500">
              <a:lnSpc>
                <a:spcPct val="95000"/>
              </a:lnSpc>
              <a:spcBef>
                <a:spcPts val="0"/>
              </a:spcBef>
              <a:buSzPct val="100000"/>
              <a:buFont typeface="Arial" panose="020B0604020202020204" pitchFamily="34" charset="0"/>
              <a:buChar char="●"/>
            </a:pPr>
            <a:r>
              <a:rPr lang="en-US" sz="5000" dirty="0"/>
              <a:t>Product- Channel - Country Level fit : 1861 Combinations</a:t>
            </a:r>
          </a:p>
          <a:p>
            <a:pPr marL="800100" lvl="1" indent="-317500">
              <a:lnSpc>
                <a:spcPct val="120000"/>
              </a:lnSpc>
              <a:spcBef>
                <a:spcPts val="0"/>
              </a:spcBef>
              <a:buSzPct val="100000"/>
              <a:buFont typeface="Arial" panose="020B0604020202020204" pitchFamily="34" charset="0"/>
              <a:buChar char="●"/>
            </a:pPr>
            <a:r>
              <a:rPr lang="en-US" sz="5300" dirty="0"/>
              <a:t>Duration : 2015 – 2016</a:t>
            </a:r>
          </a:p>
          <a:p>
            <a:pPr marL="800100" lvl="1" indent="-317500">
              <a:lnSpc>
                <a:spcPct val="120000"/>
              </a:lnSpc>
              <a:spcBef>
                <a:spcPts val="0"/>
              </a:spcBef>
              <a:buSzPct val="100000"/>
              <a:buFont typeface="Arial" panose="020B0604020202020204" pitchFamily="34" charset="0"/>
              <a:buChar char="●"/>
            </a:pPr>
            <a:r>
              <a:rPr lang="en-US" sz="5300" dirty="0"/>
              <a:t>Weeks: 60</a:t>
            </a:r>
          </a:p>
          <a:p>
            <a:pPr marL="482600" lvl="1" indent="0">
              <a:lnSpc>
                <a:spcPct val="120000"/>
              </a:lnSpc>
              <a:spcBef>
                <a:spcPts val="0"/>
              </a:spcBef>
              <a:buSzPct val="100000"/>
              <a:buNone/>
            </a:pPr>
            <a:endParaRPr lang="en-US" sz="5300" dirty="0"/>
          </a:p>
          <a:p>
            <a:pPr marL="457200" indent="-317500">
              <a:lnSpc>
                <a:spcPct val="95000"/>
              </a:lnSpc>
              <a:spcBef>
                <a:spcPts val="400"/>
              </a:spcBef>
              <a:buSzPct val="100000"/>
              <a:buFont typeface="Arial" panose="020B0604020202020204" pitchFamily="34" charset="0"/>
              <a:buChar char="●"/>
            </a:pPr>
            <a:r>
              <a:rPr lang="en-US" sz="5600" dirty="0"/>
              <a:t>Model Used: </a:t>
            </a:r>
            <a:r>
              <a:rPr lang="en-US" sz="5600" dirty="0">
                <a:solidFill>
                  <a:srgbClr val="000000"/>
                </a:solidFill>
              </a:rPr>
              <a:t>Multi Linear regression </a:t>
            </a:r>
          </a:p>
          <a:p>
            <a:pPr marL="139700" indent="0">
              <a:lnSpc>
                <a:spcPct val="95000"/>
              </a:lnSpc>
              <a:spcBef>
                <a:spcPts val="400"/>
              </a:spcBef>
              <a:buSzPct val="100000"/>
              <a:buNone/>
            </a:pPr>
            <a:r>
              <a:rPr lang="en-US" sz="5600" dirty="0"/>
              <a:t> </a:t>
            </a:r>
          </a:p>
          <a:p>
            <a:pPr marL="457200" indent="-317500">
              <a:lnSpc>
                <a:spcPct val="95000"/>
              </a:lnSpc>
              <a:spcBef>
                <a:spcPts val="400"/>
              </a:spcBef>
              <a:buSzPct val="100000"/>
              <a:buFont typeface="Arial" panose="020B0604020202020204" pitchFamily="34" charset="0"/>
              <a:buChar char="●"/>
            </a:pPr>
            <a:r>
              <a:rPr lang="en-US" sz="5600" dirty="0"/>
              <a:t>Dependent variable: Sales Volume</a:t>
            </a:r>
          </a:p>
          <a:p>
            <a:pPr marL="139700" indent="0">
              <a:lnSpc>
                <a:spcPct val="95000"/>
              </a:lnSpc>
              <a:spcBef>
                <a:spcPts val="400"/>
              </a:spcBef>
              <a:buSzPct val="100000"/>
              <a:buNone/>
            </a:pPr>
            <a:endParaRPr lang="en-US" sz="5600" dirty="0"/>
          </a:p>
          <a:p>
            <a:pPr marL="457200" indent="-317500">
              <a:lnSpc>
                <a:spcPct val="95000"/>
              </a:lnSpc>
              <a:spcBef>
                <a:spcPts val="400"/>
              </a:spcBef>
              <a:buSzPct val="100000"/>
              <a:buFont typeface="Arial" panose="020B0604020202020204" pitchFamily="34" charset="0"/>
              <a:buChar char="●"/>
            </a:pPr>
            <a:r>
              <a:rPr lang="en-US" sz="5600" dirty="0"/>
              <a:t>Independent Variables: </a:t>
            </a:r>
          </a:p>
          <a:p>
            <a:pPr marL="800100" lvl="1" indent="-317500">
              <a:lnSpc>
                <a:spcPct val="95000"/>
              </a:lnSpc>
              <a:spcBef>
                <a:spcPts val="400"/>
              </a:spcBef>
              <a:buSzPct val="100000"/>
              <a:buFont typeface="Arial" panose="020B0604020202020204" pitchFamily="34" charset="0"/>
              <a:buChar char="●"/>
            </a:pPr>
            <a:r>
              <a:rPr lang="en-US" sz="5300" dirty="0"/>
              <a:t>Price: Current Price, Original Price, Previous Price</a:t>
            </a:r>
          </a:p>
          <a:p>
            <a:pPr marL="800100" lvl="1" indent="-317500">
              <a:lnSpc>
                <a:spcPct val="95000"/>
              </a:lnSpc>
              <a:spcBef>
                <a:spcPts val="400"/>
              </a:spcBef>
              <a:buSzPct val="100000"/>
              <a:buFont typeface="Arial" panose="020B0604020202020204" pitchFamily="34" charset="0"/>
              <a:buChar char="●"/>
            </a:pPr>
            <a:r>
              <a:rPr lang="en-US" sz="5300" dirty="0"/>
              <a:t>Cost: Maximum Cost </a:t>
            </a:r>
          </a:p>
          <a:p>
            <a:pPr marL="800100" lvl="1" indent="-317500">
              <a:lnSpc>
                <a:spcPct val="95000"/>
              </a:lnSpc>
              <a:spcBef>
                <a:spcPts val="400"/>
              </a:spcBef>
              <a:buSzPct val="100000"/>
              <a:buFont typeface="Arial" panose="020B0604020202020204" pitchFamily="34" charset="0"/>
              <a:buChar char="●"/>
            </a:pPr>
            <a:r>
              <a:rPr lang="en-US" sz="5200" dirty="0"/>
              <a:t>Time: Year , month, week, Week of month</a:t>
            </a:r>
          </a:p>
          <a:p>
            <a:pPr marL="800100" lvl="1" indent="-317500">
              <a:lnSpc>
                <a:spcPct val="95000"/>
              </a:lnSpc>
              <a:spcBef>
                <a:spcPts val="400"/>
              </a:spcBef>
              <a:buSzPct val="100000"/>
              <a:buFont typeface="Arial" panose="020B0604020202020204" pitchFamily="34" charset="0"/>
              <a:buChar char="●"/>
            </a:pPr>
            <a:r>
              <a:rPr lang="en-US" sz="5200" dirty="0"/>
              <a:t>Seasonality (Fourier): Week and Month</a:t>
            </a:r>
          </a:p>
          <a:p>
            <a:pPr marL="800100" lvl="1" indent="-317500">
              <a:lnSpc>
                <a:spcPct val="95000"/>
              </a:lnSpc>
              <a:spcBef>
                <a:spcPts val="400"/>
              </a:spcBef>
              <a:buSzPct val="100000"/>
              <a:buFont typeface="Arial" panose="020B0604020202020204" pitchFamily="34" charset="0"/>
              <a:buChar char="●"/>
            </a:pPr>
            <a:r>
              <a:rPr lang="en-US" sz="5200" dirty="0"/>
              <a:t>Indicator variables : Is Month Start, Is Month End, Is Quarter Start, Is Quarter End, Is Year Start, Is Quarter End</a:t>
            </a:r>
            <a:endParaRPr lang="en-US" sz="2000" dirty="0"/>
          </a:p>
          <a:p>
            <a:pPr marL="457200" indent="0">
              <a:spcBef>
                <a:spcPts val="1200"/>
              </a:spcBef>
              <a:spcAft>
                <a:spcPts val="1200"/>
              </a:spcAft>
              <a:buFont typeface="Arial" panose="020B0604020202020204" pitchFamily="34" charset="0"/>
              <a:buNone/>
            </a:pPr>
            <a:endParaRPr lang="en-US" sz="1600" dirty="0"/>
          </a:p>
        </p:txBody>
      </p:sp>
      <p:sp>
        <p:nvSpPr>
          <p:cNvPr id="28" name="Google Shape;112;p17">
            <a:extLst>
              <a:ext uri="{FF2B5EF4-FFF2-40B4-BE49-F238E27FC236}">
                <a16:creationId xmlns:a16="http://schemas.microsoft.com/office/drawing/2014/main" id="{B2A5EFB6-2774-4070-87D8-36095FE1DF5D}"/>
              </a:ext>
            </a:extLst>
          </p:cNvPr>
          <p:cNvSpPr txBox="1"/>
          <p:nvPr/>
        </p:nvSpPr>
        <p:spPr>
          <a:xfrm>
            <a:off x="4895884" y="4593302"/>
            <a:ext cx="4248116" cy="8771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i="1" dirty="0">
                <a:solidFill>
                  <a:srgbClr val="FF0000"/>
                </a:solidFill>
                <a:latin typeface="Lato"/>
                <a:ea typeface="Lato"/>
                <a:cs typeface="Lato"/>
                <a:sym typeface="Lato"/>
              </a:rPr>
              <a:t>*</a:t>
            </a:r>
            <a:r>
              <a:rPr lang="en" sz="900" i="1" dirty="0">
                <a:solidFill>
                  <a:srgbClr val="FF0000"/>
                </a:solidFill>
                <a:latin typeface="Lato"/>
                <a:ea typeface="Lato"/>
                <a:cs typeface="Lato"/>
                <a:sym typeface="Lato"/>
              </a:rPr>
              <a:t>Weights are calculated using Volume sold </a:t>
            </a:r>
            <a:endParaRPr sz="900" i="1" dirty="0">
              <a:solidFill>
                <a:srgbClr val="FF0000"/>
              </a:solidFill>
              <a:latin typeface="Lato"/>
              <a:ea typeface="Lato"/>
              <a:cs typeface="Lato"/>
              <a:sym typeface="Lato"/>
            </a:endParaRPr>
          </a:p>
          <a:p>
            <a:pPr marL="0" lvl="0" indent="0" algn="l" rtl="0">
              <a:spcBef>
                <a:spcPts val="0"/>
              </a:spcBef>
              <a:spcAft>
                <a:spcPts val="0"/>
              </a:spcAft>
              <a:buNone/>
            </a:pPr>
            <a:r>
              <a:rPr lang="en" sz="900" i="1" dirty="0">
                <a:solidFill>
                  <a:srgbClr val="FF0000"/>
                </a:solidFill>
                <a:latin typeface="Lato"/>
                <a:ea typeface="Lato"/>
                <a:cs typeface="Lato"/>
                <a:sym typeface="Lato"/>
              </a:rPr>
              <a:t>    578 combinations have a  R-squared &gt;0.8, 95% Combnations have R Quared &gt;0.5</a:t>
            </a:r>
            <a:endParaRPr sz="900" i="1" dirty="0">
              <a:solidFill>
                <a:srgbClr val="FF0000"/>
              </a:solidFill>
              <a:latin typeface="Lato"/>
              <a:ea typeface="Lato"/>
              <a:cs typeface="Lato"/>
              <a:sym typeface="Lato"/>
            </a:endParaRPr>
          </a:p>
          <a:p>
            <a:pPr marL="0" lvl="0" indent="0" algn="l" rtl="0">
              <a:spcBef>
                <a:spcPts val="0"/>
              </a:spcBef>
              <a:spcAft>
                <a:spcPts val="0"/>
              </a:spcAft>
              <a:buNone/>
            </a:pPr>
            <a:endParaRPr i="1" dirty="0">
              <a:latin typeface="Lato"/>
              <a:ea typeface="Lato"/>
              <a:cs typeface="Lato"/>
              <a:sym typeface="Lato"/>
            </a:endParaRPr>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221746"/>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Since products have significant variations between channels and countries</a:t>
            </a:r>
          </a:p>
        </p:txBody>
      </p:sp>
      <p:sp>
        <p:nvSpPr>
          <p:cNvPr id="32" name="Rectangle: Rounded Corners 31">
            <a:extLst>
              <a:ext uri="{FF2B5EF4-FFF2-40B4-BE49-F238E27FC236}">
                <a16:creationId xmlns:a16="http://schemas.microsoft.com/office/drawing/2014/main" id="{8BD4C73A-4E0E-4AE9-BF03-7DB8D0588CDA}"/>
              </a:ext>
            </a:extLst>
          </p:cNvPr>
          <p:cNvSpPr/>
          <p:nvPr/>
        </p:nvSpPr>
        <p:spPr>
          <a:xfrm>
            <a:off x="4895884" y="1217232"/>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Goodness of Fit</a:t>
            </a:r>
          </a:p>
        </p:txBody>
      </p:sp>
      <p:graphicFrame>
        <p:nvGraphicFramePr>
          <p:cNvPr id="33" name="Chart 32">
            <a:extLst>
              <a:ext uri="{FF2B5EF4-FFF2-40B4-BE49-F238E27FC236}">
                <a16:creationId xmlns:a16="http://schemas.microsoft.com/office/drawing/2014/main" id="{981C5DE2-2717-4CE9-8C4C-09F6010CFF8B}"/>
              </a:ext>
            </a:extLst>
          </p:cNvPr>
          <p:cNvGraphicFramePr/>
          <p:nvPr>
            <p:extLst>
              <p:ext uri="{D42A27DB-BD31-4B8C-83A1-F6EECF244321}">
                <p14:modId xmlns:p14="http://schemas.microsoft.com/office/powerpoint/2010/main" val="871291046"/>
              </p:ext>
            </p:extLst>
          </p:nvPr>
        </p:nvGraphicFramePr>
        <p:xfrm>
          <a:off x="4974347" y="2444491"/>
          <a:ext cx="3800984" cy="2286557"/>
        </p:xfrm>
        <a:graphic>
          <a:graphicData uri="http://schemas.openxmlformats.org/drawingml/2006/chart">
            <c:chart xmlns:c="http://schemas.openxmlformats.org/drawingml/2006/chart" xmlns:r="http://schemas.openxmlformats.org/officeDocument/2006/relationships" r:id="rId2"/>
          </a:graphicData>
        </a:graphic>
      </p:graphicFrame>
      <p:sp>
        <p:nvSpPr>
          <p:cNvPr id="34" name="Rectangle 33">
            <a:extLst>
              <a:ext uri="{FF2B5EF4-FFF2-40B4-BE49-F238E27FC236}">
                <a16:creationId xmlns:a16="http://schemas.microsoft.com/office/drawing/2014/main" id="{B46B6717-34F7-4CB5-B636-1C6BFA9A36FC}"/>
              </a:ext>
            </a:extLst>
          </p:cNvPr>
          <p:cNvSpPr/>
          <p:nvPr/>
        </p:nvSpPr>
        <p:spPr>
          <a:xfrm>
            <a:off x="4974346" y="1776745"/>
            <a:ext cx="3800984" cy="287081"/>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chemeClr val="tx1"/>
                </a:solidFill>
              </a:rPr>
              <a:t>Regression Fit per Product-Channel-Country</a:t>
            </a:r>
            <a:endParaRPr lang="en-GB" sz="1200" b="1" dirty="0" err="1">
              <a:solidFill>
                <a:schemeClr val="tx1"/>
              </a:solidFill>
            </a:endParaRPr>
          </a:p>
        </p:txBody>
      </p:sp>
      <p:sp>
        <p:nvSpPr>
          <p:cNvPr id="35" name="Rectangle 34">
            <a:extLst>
              <a:ext uri="{FF2B5EF4-FFF2-40B4-BE49-F238E27FC236}">
                <a16:creationId xmlns:a16="http://schemas.microsoft.com/office/drawing/2014/main" id="{89269A60-93CF-4384-A54D-721E15A20C98}"/>
              </a:ext>
            </a:extLst>
          </p:cNvPr>
          <p:cNvSpPr/>
          <p:nvPr/>
        </p:nvSpPr>
        <p:spPr>
          <a:xfrm>
            <a:off x="4962977" y="2110618"/>
            <a:ext cx="3800984" cy="287081"/>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marL="134541" lvl="1"/>
            <a:r>
              <a:rPr lang="en-US" sz="900"/>
              <a:t>Sales Volume= </a:t>
            </a:r>
            <a:r>
              <a:rPr lang="en-US" sz="900" b="1"/>
              <a:t>intercept</a:t>
            </a:r>
            <a:r>
              <a:rPr lang="en-US" sz="900"/>
              <a:t> </a:t>
            </a:r>
            <a:r>
              <a:rPr lang="en-US" sz="1400" b="1"/>
              <a:t>+</a:t>
            </a:r>
            <a:r>
              <a:rPr lang="en-US" sz="900"/>
              <a:t> </a:t>
            </a:r>
            <a:r>
              <a:rPr lang="el-GR" sz="1350" b="1">
                <a:solidFill>
                  <a:srgbClr val="202124"/>
                </a:solidFill>
                <a:latin typeface="arial" panose="020B0604020202020204" pitchFamily="34" charset="0"/>
              </a:rPr>
              <a:t>α</a:t>
            </a:r>
            <a:r>
              <a:rPr lang="en-US" sz="900"/>
              <a:t>*Current Price</a:t>
            </a:r>
            <a:r>
              <a:rPr lang="en-US" sz="1400" b="1"/>
              <a:t>+ </a:t>
            </a:r>
            <a:r>
              <a:rPr lang="el-GR" sz="1350" b="1">
                <a:solidFill>
                  <a:srgbClr val="202124"/>
                </a:solidFill>
                <a:latin typeface="arial" panose="020B0604020202020204" pitchFamily="34" charset="0"/>
              </a:rPr>
              <a:t>β</a:t>
            </a:r>
            <a:r>
              <a:rPr lang="en-US" sz="900"/>
              <a:t>*Original Price </a:t>
            </a:r>
            <a:r>
              <a:rPr lang="en-US" sz="1400" b="1"/>
              <a:t>+</a:t>
            </a:r>
            <a:r>
              <a:rPr lang="en-US" sz="900"/>
              <a:t> </a:t>
            </a:r>
            <a:r>
              <a:rPr lang="en-US" sz="1350" b="1">
                <a:solidFill>
                  <a:srgbClr val="202124"/>
                </a:solidFill>
                <a:latin typeface="arial" panose="020B0604020202020204" pitchFamily="34" charset="0"/>
              </a:rPr>
              <a:t>……</a:t>
            </a:r>
            <a:endParaRPr lang="en-US" sz="1350" b="1" dirty="0">
              <a:solidFill>
                <a:srgbClr val="202124"/>
              </a:solidFill>
              <a:latin typeface="arial" panose="020B0604020202020204" pitchFamily="34" charset="0"/>
            </a:endParaRPr>
          </a:p>
        </p:txBody>
      </p:sp>
      <p:cxnSp>
        <p:nvCxnSpPr>
          <p:cNvPr id="36" name="Straight Connector 35">
            <a:extLst>
              <a:ext uri="{FF2B5EF4-FFF2-40B4-BE49-F238E27FC236}">
                <a16:creationId xmlns:a16="http://schemas.microsoft.com/office/drawing/2014/main" id="{E63FAC6D-FC1E-4C34-B2D3-24C4F7A5879E}"/>
              </a:ext>
            </a:extLst>
          </p:cNvPr>
          <p:cNvCxnSpPr>
            <a:cxnSpLocks/>
          </p:cNvCxnSpPr>
          <p:nvPr/>
        </p:nvCxnSpPr>
        <p:spPr>
          <a:xfrm flipV="1">
            <a:off x="5664631" y="2761481"/>
            <a:ext cx="2857235" cy="1164787"/>
          </a:xfrm>
          <a:prstGeom prst="line">
            <a:avLst/>
          </a:prstGeom>
          <a:ln w="571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pic>
        <p:nvPicPr>
          <p:cNvPr id="37" name="Picture 2" descr="Formula FX icon PNG and SVG Vector Free Download">
            <a:extLst>
              <a:ext uri="{FF2B5EF4-FFF2-40B4-BE49-F238E27FC236}">
                <a16:creationId xmlns:a16="http://schemas.microsoft.com/office/drawing/2014/main" id="{981AB1C6-27B1-45B3-A8CF-EC8BB525B722}"/>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54557" y="0"/>
            <a:ext cx="489443" cy="491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267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2028FE-FC7A-4899-B507-56DA4CB7B763}"/>
              </a:ext>
            </a:extLst>
          </p:cNvPr>
          <p:cNvSpPr>
            <a:spLocks noGrp="1"/>
          </p:cNvSpPr>
          <p:nvPr>
            <p:ph type="body" sz="quarter" idx="12"/>
          </p:nvPr>
        </p:nvSpPr>
        <p:spPr/>
        <p:txBody>
          <a:bodyPr/>
          <a:lstStyle/>
          <a:p>
            <a:r>
              <a:rPr lang="en-IN" dirty="0"/>
              <a:t>|D</a:t>
            </a:r>
          </a:p>
        </p:txBody>
      </p:sp>
      <p:sp>
        <p:nvSpPr>
          <p:cNvPr id="3" name="Title 2">
            <a:extLst>
              <a:ext uri="{FF2B5EF4-FFF2-40B4-BE49-F238E27FC236}">
                <a16:creationId xmlns:a16="http://schemas.microsoft.com/office/drawing/2014/main" id="{2548CBD9-BE72-4CF0-B14F-11EBDD5687BA}"/>
              </a:ext>
            </a:extLst>
          </p:cNvPr>
          <p:cNvSpPr>
            <a:spLocks noGrp="1"/>
          </p:cNvSpPr>
          <p:nvPr>
            <p:ph type="title"/>
          </p:nvPr>
        </p:nvSpPr>
        <p:spPr>
          <a:xfrm>
            <a:off x="1695467" y="3522092"/>
            <a:ext cx="7163076" cy="653256"/>
          </a:xfrm>
        </p:spPr>
        <p:txBody>
          <a:bodyPr/>
          <a:lstStyle/>
          <a:p>
            <a:r>
              <a:rPr lang="en-IN" sz="4050" dirty="0"/>
              <a:t>SALES VOLUME – FORECASTING</a:t>
            </a:r>
          </a:p>
        </p:txBody>
      </p:sp>
      <p:pic>
        <p:nvPicPr>
          <p:cNvPr id="6" name="Picture 10" descr="Simulation - Free communications icons">
            <a:extLst>
              <a:ext uri="{FF2B5EF4-FFF2-40B4-BE49-F238E27FC236}">
                <a16:creationId xmlns:a16="http://schemas.microsoft.com/office/drawing/2014/main" id="{A28E5693-31C8-47FE-AC61-0FB6C6B0AEF4}"/>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73087" y="0"/>
            <a:ext cx="570913" cy="570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48605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Sales volume forecasting deep dive</a:t>
            </a:r>
            <a:endParaRPr lang="en-GB" dirty="0"/>
          </a:p>
        </p:txBody>
      </p:sp>
      <p:sp>
        <p:nvSpPr>
          <p:cNvPr id="21" name="Google Shape;109;p17">
            <a:extLst>
              <a:ext uri="{FF2B5EF4-FFF2-40B4-BE49-F238E27FC236}">
                <a16:creationId xmlns:a16="http://schemas.microsoft.com/office/drawing/2014/main" id="{E40D3A11-A456-48EE-A7D8-4CD2480A0F66}"/>
              </a:ext>
            </a:extLst>
          </p:cNvPr>
          <p:cNvSpPr txBox="1">
            <a:spLocks/>
          </p:cNvSpPr>
          <p:nvPr/>
        </p:nvSpPr>
        <p:spPr>
          <a:xfrm>
            <a:off x="69742" y="1593347"/>
            <a:ext cx="4827015" cy="3387296"/>
          </a:xfrm>
          <a:prstGeom prst="rect">
            <a:avLst/>
          </a:prstGeom>
        </p:spPr>
        <p:txBody>
          <a:bodyPr spcFirstLastPara="1" wrap="square" lIns="91425" tIns="91425" rIns="91425" bIns="91425" anchor="t" anchorCtr="0">
            <a:normAutofit fontScale="2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indent="-317500">
              <a:lnSpc>
                <a:spcPct val="95000"/>
              </a:lnSpc>
              <a:spcBef>
                <a:spcPts val="1200"/>
              </a:spcBef>
              <a:buSzPct val="100000"/>
              <a:buFont typeface="Arial" panose="020B0604020202020204" pitchFamily="34" charset="0"/>
              <a:buChar char="●"/>
            </a:pPr>
            <a:r>
              <a:rPr lang="en-US" sz="5600" dirty="0">
                <a:solidFill>
                  <a:srgbClr val="000000"/>
                </a:solidFill>
              </a:rPr>
              <a:t>Fit Level :</a:t>
            </a:r>
          </a:p>
          <a:p>
            <a:pPr marL="800100" lvl="1" indent="-317500">
              <a:lnSpc>
                <a:spcPct val="95000"/>
              </a:lnSpc>
              <a:spcBef>
                <a:spcPts val="0"/>
              </a:spcBef>
              <a:buSzPct val="100000"/>
              <a:buFont typeface="Arial" panose="020B0604020202020204" pitchFamily="34" charset="0"/>
              <a:buChar char="●"/>
            </a:pPr>
            <a:r>
              <a:rPr lang="en-US" sz="5000" dirty="0"/>
              <a:t>Product Group - Channel - Country Level fit : 19 Combinations</a:t>
            </a:r>
          </a:p>
          <a:p>
            <a:pPr marL="800100" lvl="1" indent="-317500">
              <a:lnSpc>
                <a:spcPct val="120000"/>
              </a:lnSpc>
              <a:spcBef>
                <a:spcPts val="0"/>
              </a:spcBef>
              <a:buSzPct val="100000"/>
              <a:buFont typeface="Arial" panose="020B0604020202020204" pitchFamily="34" charset="0"/>
              <a:buChar char="●"/>
            </a:pPr>
            <a:r>
              <a:rPr lang="en-US" sz="5300" dirty="0"/>
              <a:t>Duration : 2015 – 2016</a:t>
            </a:r>
          </a:p>
          <a:p>
            <a:pPr marL="800100" lvl="1" indent="-317500">
              <a:lnSpc>
                <a:spcPct val="120000"/>
              </a:lnSpc>
              <a:spcBef>
                <a:spcPts val="0"/>
              </a:spcBef>
              <a:buSzPct val="100000"/>
              <a:buFont typeface="Arial" panose="020B0604020202020204" pitchFamily="34" charset="0"/>
              <a:buChar char="●"/>
            </a:pPr>
            <a:r>
              <a:rPr lang="en-US" sz="5300" dirty="0"/>
              <a:t>Weeks: 60</a:t>
            </a:r>
          </a:p>
          <a:p>
            <a:pPr marL="482600" lvl="1" indent="0">
              <a:lnSpc>
                <a:spcPct val="120000"/>
              </a:lnSpc>
              <a:spcBef>
                <a:spcPts val="0"/>
              </a:spcBef>
              <a:buSzPct val="100000"/>
              <a:buNone/>
            </a:pPr>
            <a:endParaRPr lang="en-US" sz="5300" dirty="0"/>
          </a:p>
          <a:p>
            <a:pPr marL="457200" indent="-317500">
              <a:lnSpc>
                <a:spcPct val="95000"/>
              </a:lnSpc>
              <a:spcBef>
                <a:spcPts val="400"/>
              </a:spcBef>
              <a:buSzPct val="100000"/>
              <a:buFont typeface="Arial" panose="020B0604020202020204" pitchFamily="34" charset="0"/>
              <a:buChar char="●"/>
            </a:pPr>
            <a:r>
              <a:rPr lang="en-US" sz="5600" dirty="0"/>
              <a:t>Model Used: </a:t>
            </a:r>
            <a:r>
              <a:rPr lang="en-US" sz="5600" dirty="0">
                <a:solidFill>
                  <a:srgbClr val="000000"/>
                </a:solidFill>
              </a:rPr>
              <a:t>Random Forest</a:t>
            </a:r>
            <a:endParaRPr lang="en-US" sz="5600" dirty="0"/>
          </a:p>
          <a:p>
            <a:pPr marL="457200" indent="-317500">
              <a:lnSpc>
                <a:spcPct val="95000"/>
              </a:lnSpc>
              <a:spcBef>
                <a:spcPts val="400"/>
              </a:spcBef>
              <a:buSzPct val="100000"/>
              <a:buFont typeface="Arial" panose="020B0604020202020204" pitchFamily="34" charset="0"/>
              <a:buChar char="●"/>
            </a:pPr>
            <a:r>
              <a:rPr lang="en-US" sz="5600" dirty="0"/>
              <a:t>Dependent variable: Sales Volume</a:t>
            </a:r>
          </a:p>
          <a:p>
            <a:pPr marL="457200" indent="-317500">
              <a:lnSpc>
                <a:spcPct val="95000"/>
              </a:lnSpc>
              <a:spcBef>
                <a:spcPts val="400"/>
              </a:spcBef>
              <a:buSzPct val="100000"/>
              <a:buFont typeface="Arial" panose="020B0604020202020204" pitchFamily="34" charset="0"/>
              <a:buChar char="●"/>
            </a:pPr>
            <a:r>
              <a:rPr lang="en-US" sz="5600" dirty="0"/>
              <a:t>Independent Variables: </a:t>
            </a:r>
          </a:p>
          <a:p>
            <a:pPr marL="800100" lvl="1" indent="-317500">
              <a:lnSpc>
                <a:spcPct val="95000"/>
              </a:lnSpc>
              <a:spcBef>
                <a:spcPts val="400"/>
              </a:spcBef>
              <a:buSzPct val="100000"/>
              <a:buFont typeface="Arial" panose="020B0604020202020204" pitchFamily="34" charset="0"/>
              <a:buChar char="●"/>
            </a:pPr>
            <a:r>
              <a:rPr lang="en-US" sz="5300" dirty="0"/>
              <a:t>Price: Current Price, Original Price, Previous Price</a:t>
            </a:r>
          </a:p>
          <a:p>
            <a:pPr marL="800100" lvl="1" indent="-317500">
              <a:lnSpc>
                <a:spcPct val="95000"/>
              </a:lnSpc>
              <a:spcBef>
                <a:spcPts val="400"/>
              </a:spcBef>
              <a:buSzPct val="100000"/>
              <a:buFont typeface="Arial" panose="020B0604020202020204" pitchFamily="34" charset="0"/>
              <a:buChar char="●"/>
            </a:pPr>
            <a:r>
              <a:rPr lang="en-US" sz="5200" dirty="0"/>
              <a:t>Time: Year , month, week, Week of month</a:t>
            </a:r>
          </a:p>
          <a:p>
            <a:pPr marL="800100" lvl="1" indent="-317500">
              <a:lnSpc>
                <a:spcPct val="95000"/>
              </a:lnSpc>
              <a:spcBef>
                <a:spcPts val="400"/>
              </a:spcBef>
              <a:buSzPct val="100000"/>
              <a:buFont typeface="Arial" panose="020B0604020202020204" pitchFamily="34" charset="0"/>
              <a:buChar char="●"/>
            </a:pPr>
            <a:r>
              <a:rPr lang="en-US" sz="5200" dirty="0"/>
              <a:t>Seasonality (Fourier): Week and Month</a:t>
            </a:r>
          </a:p>
          <a:p>
            <a:pPr marL="800100" lvl="1" indent="-317500">
              <a:lnSpc>
                <a:spcPct val="95000"/>
              </a:lnSpc>
              <a:spcBef>
                <a:spcPts val="400"/>
              </a:spcBef>
              <a:buSzPct val="100000"/>
              <a:buFont typeface="Arial" panose="020B0604020202020204" pitchFamily="34" charset="0"/>
              <a:buChar char="●"/>
            </a:pPr>
            <a:r>
              <a:rPr lang="en-US" sz="5200" dirty="0"/>
              <a:t>Indicator variables : Is Month Start, Is Month End, Is Quarter Start, Is Quarter End, Is Year Start, Is Quarter End</a:t>
            </a:r>
          </a:p>
          <a:p>
            <a:pPr marL="800100" lvl="1" indent="-317500">
              <a:lnSpc>
                <a:spcPct val="95000"/>
              </a:lnSpc>
              <a:spcBef>
                <a:spcPts val="400"/>
              </a:spcBef>
              <a:buSzPct val="100000"/>
              <a:buFont typeface="Arial" panose="020B0604020202020204" pitchFamily="34" charset="0"/>
              <a:buChar char="●"/>
            </a:pPr>
            <a:r>
              <a:rPr lang="en-US" sz="5200" dirty="0"/>
              <a:t>Known Reals : Lags of Volume, Weighted Average of Past weeks, Mean encoding at different hierarchies</a:t>
            </a:r>
            <a:endParaRPr lang="en-US" sz="2000" dirty="0"/>
          </a:p>
          <a:p>
            <a:pPr marL="457200" indent="0">
              <a:spcBef>
                <a:spcPts val="1200"/>
              </a:spcBef>
              <a:spcAft>
                <a:spcPts val="1200"/>
              </a:spcAft>
              <a:buFont typeface="Arial" panose="020B0604020202020204" pitchFamily="34" charset="0"/>
              <a:buNone/>
            </a:pPr>
            <a:endParaRPr lang="en-US" sz="1600" dirty="0"/>
          </a:p>
        </p:txBody>
      </p:sp>
      <p:sp>
        <p:nvSpPr>
          <p:cNvPr id="28" name="Google Shape;112;p17">
            <a:extLst>
              <a:ext uri="{FF2B5EF4-FFF2-40B4-BE49-F238E27FC236}">
                <a16:creationId xmlns:a16="http://schemas.microsoft.com/office/drawing/2014/main" id="{B2A5EFB6-2774-4070-87D8-36095FE1DF5D}"/>
              </a:ext>
            </a:extLst>
          </p:cNvPr>
          <p:cNvSpPr txBox="1"/>
          <p:nvPr/>
        </p:nvSpPr>
        <p:spPr>
          <a:xfrm>
            <a:off x="4895884" y="4593302"/>
            <a:ext cx="4248116" cy="8771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i="1" dirty="0">
                <a:solidFill>
                  <a:srgbClr val="FF0000"/>
                </a:solidFill>
                <a:latin typeface="Lato"/>
                <a:ea typeface="Lato"/>
                <a:cs typeface="Lato"/>
                <a:sym typeface="Lato"/>
              </a:rPr>
              <a:t>*</a:t>
            </a:r>
            <a:r>
              <a:rPr lang="en" sz="900" i="1" dirty="0">
                <a:solidFill>
                  <a:srgbClr val="FF0000"/>
                </a:solidFill>
                <a:latin typeface="Lato"/>
                <a:ea typeface="Lato"/>
                <a:cs typeface="Lato"/>
                <a:sym typeface="Lato"/>
              </a:rPr>
              <a:t>Min Max Scaling Used || 25 Evaluations || Bayesian Optimization</a:t>
            </a:r>
            <a:endParaRPr sz="900" i="1" dirty="0">
              <a:solidFill>
                <a:srgbClr val="FF0000"/>
              </a:solidFill>
              <a:latin typeface="Lato"/>
              <a:ea typeface="Lato"/>
              <a:cs typeface="Lato"/>
              <a:sym typeface="Lato"/>
            </a:endParaRPr>
          </a:p>
          <a:p>
            <a:pPr marL="0" lvl="0" indent="0" algn="l" rtl="0">
              <a:spcBef>
                <a:spcPts val="0"/>
              </a:spcBef>
              <a:spcAft>
                <a:spcPts val="0"/>
              </a:spcAft>
              <a:buNone/>
            </a:pPr>
            <a:r>
              <a:rPr lang="en" sz="900" i="1" dirty="0">
                <a:solidFill>
                  <a:srgbClr val="FF0000"/>
                </a:solidFill>
                <a:latin typeface="Lato"/>
                <a:ea typeface="Lato"/>
                <a:cs typeface="Lato"/>
                <a:sym typeface="Lato"/>
              </a:rPr>
              <a:t>    </a:t>
            </a:r>
            <a:r>
              <a:rPr lang="en-US" sz="900" i="1" dirty="0">
                <a:solidFill>
                  <a:srgbClr val="FF0000"/>
                </a:solidFill>
                <a:latin typeface="Lato"/>
                <a:ea typeface="Lato"/>
                <a:cs typeface="Lato"/>
                <a:sym typeface="Lato"/>
              </a:rPr>
              <a:t>Tracking Signal Bias And RMSE Used for Hyper parameter Tuning</a:t>
            </a:r>
            <a:endParaRPr sz="900" i="1" dirty="0">
              <a:solidFill>
                <a:srgbClr val="FF0000"/>
              </a:solidFill>
              <a:latin typeface="Lato"/>
              <a:ea typeface="Lato"/>
              <a:cs typeface="Lato"/>
              <a:sym typeface="Lato"/>
            </a:endParaRPr>
          </a:p>
          <a:p>
            <a:pPr marL="0" lvl="0" indent="0" algn="l" rtl="0">
              <a:spcBef>
                <a:spcPts val="0"/>
              </a:spcBef>
              <a:spcAft>
                <a:spcPts val="0"/>
              </a:spcAft>
              <a:buNone/>
            </a:pPr>
            <a:endParaRPr i="1" dirty="0">
              <a:latin typeface="Lato"/>
              <a:ea typeface="Lato"/>
              <a:cs typeface="Lato"/>
              <a:sym typeface="Lato"/>
            </a:endParaRPr>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221746"/>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Since products have significant variations between channels and countries</a:t>
            </a:r>
          </a:p>
        </p:txBody>
      </p:sp>
      <p:sp>
        <p:nvSpPr>
          <p:cNvPr id="32" name="Rectangle: Rounded Corners 31">
            <a:extLst>
              <a:ext uri="{FF2B5EF4-FFF2-40B4-BE49-F238E27FC236}">
                <a16:creationId xmlns:a16="http://schemas.microsoft.com/office/drawing/2014/main" id="{8BD4C73A-4E0E-4AE9-BF03-7DB8D0588CDA}"/>
              </a:ext>
            </a:extLst>
          </p:cNvPr>
          <p:cNvSpPr/>
          <p:nvPr/>
        </p:nvSpPr>
        <p:spPr>
          <a:xfrm>
            <a:off x="4895884" y="1217232"/>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Goodness of Fit</a:t>
            </a:r>
          </a:p>
        </p:txBody>
      </p:sp>
      <p:sp>
        <p:nvSpPr>
          <p:cNvPr id="34" name="Rectangle 33">
            <a:extLst>
              <a:ext uri="{FF2B5EF4-FFF2-40B4-BE49-F238E27FC236}">
                <a16:creationId xmlns:a16="http://schemas.microsoft.com/office/drawing/2014/main" id="{B46B6717-34F7-4CB5-B636-1C6BFA9A36FC}"/>
              </a:ext>
            </a:extLst>
          </p:cNvPr>
          <p:cNvSpPr/>
          <p:nvPr/>
        </p:nvSpPr>
        <p:spPr>
          <a:xfrm>
            <a:off x="4974346" y="1735811"/>
            <a:ext cx="3800984" cy="328016"/>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chemeClr val="tx1"/>
                </a:solidFill>
              </a:rPr>
              <a:t>Random Forest Model per Product Group -Channel-Country</a:t>
            </a:r>
            <a:endParaRPr lang="en-GB" sz="1200" b="1" dirty="0" err="1">
              <a:solidFill>
                <a:schemeClr val="tx1"/>
              </a:solidFill>
            </a:endParaRPr>
          </a:p>
        </p:txBody>
      </p:sp>
      <p:pic>
        <p:nvPicPr>
          <p:cNvPr id="12" name="Picture 10" descr="Simulation - Free communications icons">
            <a:extLst>
              <a:ext uri="{FF2B5EF4-FFF2-40B4-BE49-F238E27FC236}">
                <a16:creationId xmlns:a16="http://schemas.microsoft.com/office/drawing/2014/main" id="{0F7D6216-2802-409F-8693-8CD40F4616BC}"/>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73087" y="0"/>
            <a:ext cx="570913" cy="57091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A666271-4CFE-4FBB-8A3C-7097E29881F8}"/>
              </a:ext>
            </a:extLst>
          </p:cNvPr>
          <p:cNvPicPr>
            <a:picLocks noChangeAspect="1"/>
          </p:cNvPicPr>
          <p:nvPr/>
        </p:nvPicPr>
        <p:blipFill>
          <a:blip r:embed="rId3"/>
          <a:stretch>
            <a:fillRect/>
          </a:stretch>
        </p:blipFill>
        <p:spPr>
          <a:xfrm>
            <a:off x="4895884" y="2141496"/>
            <a:ext cx="3914672" cy="2516537"/>
          </a:xfrm>
          <a:prstGeom prst="rect">
            <a:avLst/>
          </a:prstGeom>
        </p:spPr>
      </p:pic>
      <p:sp>
        <p:nvSpPr>
          <p:cNvPr id="15" name="Rectangle 14">
            <a:extLst>
              <a:ext uri="{FF2B5EF4-FFF2-40B4-BE49-F238E27FC236}">
                <a16:creationId xmlns:a16="http://schemas.microsoft.com/office/drawing/2014/main" id="{C47FD524-FDB7-40D6-8FB3-0A3B944B4D03}"/>
              </a:ext>
            </a:extLst>
          </p:cNvPr>
          <p:cNvSpPr/>
          <p:nvPr/>
        </p:nvSpPr>
        <p:spPr>
          <a:xfrm>
            <a:off x="5509646" y="2456922"/>
            <a:ext cx="391281" cy="1898948"/>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16" name="Rectangle 15">
            <a:extLst>
              <a:ext uri="{FF2B5EF4-FFF2-40B4-BE49-F238E27FC236}">
                <a16:creationId xmlns:a16="http://schemas.microsoft.com/office/drawing/2014/main" id="{6B44B305-8A23-43B0-8C37-EE9170EE764A}"/>
              </a:ext>
            </a:extLst>
          </p:cNvPr>
          <p:cNvSpPr/>
          <p:nvPr/>
        </p:nvSpPr>
        <p:spPr>
          <a:xfrm>
            <a:off x="6669847" y="2456922"/>
            <a:ext cx="540688" cy="1898948"/>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Tree>
    <p:extLst>
      <p:ext uri="{BB962C8B-B14F-4D97-AF65-F5344CB8AC3E}">
        <p14:creationId xmlns:p14="http://schemas.microsoft.com/office/powerpoint/2010/main" val="1168944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96FFE0D5-BFA8-4015-BA79-C3510E5C44C7}"/>
              </a:ext>
            </a:extLst>
          </p:cNvPr>
          <p:cNvSpPr>
            <a:spLocks noGrp="1"/>
          </p:cNvSpPr>
          <p:nvPr>
            <p:ph type="title"/>
          </p:nvPr>
        </p:nvSpPr>
        <p:spPr>
          <a:xfrm>
            <a:off x="450560" y="262085"/>
            <a:ext cx="8141098" cy="507831"/>
          </a:xfrm>
        </p:spPr>
        <p:txBody>
          <a:bodyPr/>
          <a:lstStyle/>
          <a:p>
            <a:r>
              <a:rPr lang="en-US" dirty="0"/>
              <a:t>Hyper-parameter objective function</a:t>
            </a:r>
            <a:endParaRPr lang="en-GB" dirty="0"/>
          </a:p>
        </p:txBody>
      </p:sp>
      <p:pic>
        <p:nvPicPr>
          <p:cNvPr id="2050" name="Picture 2" descr="Settings Coherence Icons - Download Free Vector Icons | Noun Project">
            <a:extLst>
              <a:ext uri="{FF2B5EF4-FFF2-40B4-BE49-F238E27FC236}">
                <a16:creationId xmlns:a16="http://schemas.microsoft.com/office/drawing/2014/main" id="{96FA522F-D2E9-4E0C-83E4-6DA8BD91EFBE}"/>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43676" y="3015125"/>
            <a:ext cx="515077" cy="4280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ias Icons - Download Free Vector Icons | Noun Project">
            <a:extLst>
              <a:ext uri="{FF2B5EF4-FFF2-40B4-BE49-F238E27FC236}">
                <a16:creationId xmlns:a16="http://schemas.microsoft.com/office/drawing/2014/main" id="{F2CFA29D-47B6-4176-92BC-63A6623A2BAC}"/>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02156" y="866542"/>
            <a:ext cx="560540" cy="56054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67AF1B4-9DD5-45D2-B429-3A620DAF589A}"/>
              </a:ext>
            </a:extLst>
          </p:cNvPr>
          <p:cNvSpPr/>
          <p:nvPr/>
        </p:nvSpPr>
        <p:spPr>
          <a:xfrm>
            <a:off x="233121" y="1309306"/>
            <a:ext cx="1648690" cy="591569"/>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1350" b="1" dirty="0">
                <a:solidFill>
                  <a:schemeClr val="tx1"/>
                </a:solidFill>
              </a:rPr>
              <a:t>Dual Objective Optimization</a:t>
            </a:r>
          </a:p>
        </p:txBody>
      </p:sp>
      <p:sp>
        <p:nvSpPr>
          <p:cNvPr id="11" name="TextBox 10">
            <a:extLst>
              <a:ext uri="{FF2B5EF4-FFF2-40B4-BE49-F238E27FC236}">
                <a16:creationId xmlns:a16="http://schemas.microsoft.com/office/drawing/2014/main" id="{BBB95B80-276F-464D-B7DD-75196AC28273}"/>
              </a:ext>
            </a:extLst>
          </p:cNvPr>
          <p:cNvSpPr txBox="1"/>
          <p:nvPr/>
        </p:nvSpPr>
        <p:spPr bwMode="auto">
          <a:xfrm>
            <a:off x="6948055" y="3318164"/>
            <a:ext cx="1880788" cy="300082"/>
          </a:xfrm>
          <a:prstGeom prst="rect">
            <a:avLst/>
          </a:prstGeom>
        </p:spPr>
        <p:txBody>
          <a:bodyPr wrap="square" rtlCol="0">
            <a:spAutoFit/>
          </a:bodyPr>
          <a:lstStyle/>
          <a:p>
            <a:pPr algn="ctr"/>
            <a:r>
              <a:rPr lang="en-US" sz="1350" b="1" i="1" dirty="0"/>
              <a:t>RMSE</a:t>
            </a:r>
            <a:endParaRPr lang="en-GB" sz="1350" b="1" dirty="0"/>
          </a:p>
        </p:txBody>
      </p:sp>
      <p:sp>
        <p:nvSpPr>
          <p:cNvPr id="22" name="TextBox 21">
            <a:extLst>
              <a:ext uri="{FF2B5EF4-FFF2-40B4-BE49-F238E27FC236}">
                <a16:creationId xmlns:a16="http://schemas.microsoft.com/office/drawing/2014/main" id="{C38C6041-0D3B-4E72-A09D-342F871BFB4B}"/>
              </a:ext>
            </a:extLst>
          </p:cNvPr>
          <p:cNvSpPr txBox="1"/>
          <p:nvPr/>
        </p:nvSpPr>
        <p:spPr bwMode="auto">
          <a:xfrm>
            <a:off x="4495038" y="687088"/>
            <a:ext cx="1163782" cy="507831"/>
          </a:xfrm>
          <a:prstGeom prst="rect">
            <a:avLst/>
          </a:prstGeom>
        </p:spPr>
        <p:txBody>
          <a:bodyPr wrap="square" rtlCol="0">
            <a:spAutoFit/>
          </a:bodyPr>
          <a:lstStyle>
            <a:defPPr>
              <a:defRPr lang="en-US"/>
            </a:defPPr>
            <a:lvl1pPr>
              <a:defRPr b="1"/>
            </a:lvl1pPr>
          </a:lstStyle>
          <a:p>
            <a:r>
              <a:rPr lang="en-US" sz="1350" dirty="0"/>
              <a:t>Signal Bias</a:t>
            </a:r>
          </a:p>
          <a:p>
            <a:pPr algn="ctr"/>
            <a:r>
              <a:rPr lang="en-US" sz="1350" i="1" dirty="0"/>
              <a:t>[TSB]</a:t>
            </a:r>
          </a:p>
        </p:txBody>
      </p:sp>
      <p:cxnSp>
        <p:nvCxnSpPr>
          <p:cNvPr id="13" name="Straight Arrow Connector 12">
            <a:extLst>
              <a:ext uri="{FF2B5EF4-FFF2-40B4-BE49-F238E27FC236}">
                <a16:creationId xmlns:a16="http://schemas.microsoft.com/office/drawing/2014/main" id="{39A87544-940F-4573-A83D-F1A8FDC04F3D}"/>
              </a:ext>
            </a:extLst>
          </p:cNvPr>
          <p:cNvCxnSpPr>
            <a:cxnSpLocks/>
          </p:cNvCxnSpPr>
          <p:nvPr/>
        </p:nvCxnSpPr>
        <p:spPr>
          <a:xfrm>
            <a:off x="4631414" y="970483"/>
            <a:ext cx="0" cy="4107209"/>
          </a:xfrm>
          <a:prstGeom prst="straightConnector1">
            <a:avLst/>
          </a:prstGeom>
          <a:ln w="28575">
            <a:headEnd type="triangle"/>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FC26C36D-B68B-4F9E-8071-1B04B9E6E33B}"/>
              </a:ext>
            </a:extLst>
          </p:cNvPr>
          <p:cNvCxnSpPr>
            <a:cxnSpLocks/>
          </p:cNvCxnSpPr>
          <p:nvPr/>
        </p:nvCxnSpPr>
        <p:spPr>
          <a:xfrm flipH="1">
            <a:off x="1988128" y="3248891"/>
            <a:ext cx="5874329" cy="0"/>
          </a:xfrm>
          <a:prstGeom prst="straightConnector1">
            <a:avLst/>
          </a:prstGeom>
          <a:ln w="28575">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772BEAE-660E-4031-BEAB-A1BC57071905}"/>
              </a:ext>
            </a:extLst>
          </p:cNvPr>
          <p:cNvCxnSpPr/>
          <p:nvPr/>
        </p:nvCxnSpPr>
        <p:spPr>
          <a:xfrm>
            <a:off x="4521109" y="2431520"/>
            <a:ext cx="220610" cy="0"/>
          </a:xfrm>
          <a:prstGeom prst="line">
            <a:avLst/>
          </a:prstGeom>
          <a:ln w="28575">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D5C84BAF-0E85-4AC1-942B-5F1F2A05E4FF}"/>
              </a:ext>
            </a:extLst>
          </p:cNvPr>
          <p:cNvCxnSpPr/>
          <p:nvPr/>
        </p:nvCxnSpPr>
        <p:spPr>
          <a:xfrm>
            <a:off x="4521109" y="4007474"/>
            <a:ext cx="220610" cy="0"/>
          </a:xfrm>
          <a:prstGeom prst="line">
            <a:avLst/>
          </a:prstGeom>
          <a:ln w="28575">
            <a:headEnd type="triangle"/>
            <a:tailEnd type="triangle"/>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DBD0569D-F5BC-428C-85EE-B69E66088438}"/>
              </a:ext>
            </a:extLst>
          </p:cNvPr>
          <p:cNvSpPr txBox="1"/>
          <p:nvPr/>
        </p:nvSpPr>
        <p:spPr bwMode="auto">
          <a:xfrm>
            <a:off x="4066703" y="2306827"/>
            <a:ext cx="602279" cy="300082"/>
          </a:xfrm>
          <a:prstGeom prst="rect">
            <a:avLst/>
          </a:prstGeom>
        </p:spPr>
        <p:txBody>
          <a:bodyPr wrap="square" rtlCol="0">
            <a:spAutoFit/>
          </a:bodyPr>
          <a:lstStyle/>
          <a:p>
            <a:pPr algn="l"/>
            <a:r>
              <a:rPr lang="en-US" sz="1350" b="1" dirty="0"/>
              <a:t>3.75</a:t>
            </a:r>
            <a:endParaRPr lang="en-GB" sz="1350" b="1" dirty="0"/>
          </a:p>
        </p:txBody>
      </p:sp>
      <p:sp>
        <p:nvSpPr>
          <p:cNvPr id="35" name="TextBox 34">
            <a:extLst>
              <a:ext uri="{FF2B5EF4-FFF2-40B4-BE49-F238E27FC236}">
                <a16:creationId xmlns:a16="http://schemas.microsoft.com/office/drawing/2014/main" id="{A720A59E-09BF-4D6F-9C55-FF9C30085619}"/>
              </a:ext>
            </a:extLst>
          </p:cNvPr>
          <p:cNvSpPr txBox="1"/>
          <p:nvPr/>
        </p:nvSpPr>
        <p:spPr bwMode="auto">
          <a:xfrm>
            <a:off x="4066703" y="3896018"/>
            <a:ext cx="602279" cy="300082"/>
          </a:xfrm>
          <a:prstGeom prst="rect">
            <a:avLst/>
          </a:prstGeom>
        </p:spPr>
        <p:txBody>
          <a:bodyPr wrap="square" rtlCol="0">
            <a:spAutoFit/>
          </a:bodyPr>
          <a:lstStyle/>
          <a:p>
            <a:pPr algn="l"/>
            <a:r>
              <a:rPr lang="en-US" sz="1350" b="1" dirty="0"/>
              <a:t>-3.75</a:t>
            </a:r>
            <a:endParaRPr lang="en-GB" sz="1350" b="1" dirty="0"/>
          </a:p>
        </p:txBody>
      </p:sp>
      <p:sp>
        <p:nvSpPr>
          <p:cNvPr id="36" name="TextBox 35">
            <a:extLst>
              <a:ext uri="{FF2B5EF4-FFF2-40B4-BE49-F238E27FC236}">
                <a16:creationId xmlns:a16="http://schemas.microsoft.com/office/drawing/2014/main" id="{EA7CEBA3-2B01-4CA9-9812-4F4A68A256B6}"/>
              </a:ext>
            </a:extLst>
          </p:cNvPr>
          <p:cNvSpPr txBox="1"/>
          <p:nvPr/>
        </p:nvSpPr>
        <p:spPr bwMode="auto">
          <a:xfrm>
            <a:off x="5646122" y="3295456"/>
            <a:ext cx="248987" cy="300082"/>
          </a:xfrm>
          <a:prstGeom prst="rect">
            <a:avLst/>
          </a:prstGeom>
          <a:solidFill>
            <a:srgbClr val="FFC000"/>
          </a:solidFill>
        </p:spPr>
        <p:txBody>
          <a:bodyPr wrap="square" rtlCol="0">
            <a:spAutoFit/>
          </a:bodyPr>
          <a:lstStyle/>
          <a:p>
            <a:pPr algn="l"/>
            <a:r>
              <a:rPr lang="en-US" sz="1350" b="1" dirty="0"/>
              <a:t>1</a:t>
            </a:r>
            <a:endParaRPr lang="en-GB" sz="1350" b="1" dirty="0"/>
          </a:p>
        </p:txBody>
      </p:sp>
      <p:sp>
        <p:nvSpPr>
          <p:cNvPr id="37" name="TextBox 36">
            <a:extLst>
              <a:ext uri="{FF2B5EF4-FFF2-40B4-BE49-F238E27FC236}">
                <a16:creationId xmlns:a16="http://schemas.microsoft.com/office/drawing/2014/main" id="{87162F3A-8A27-45C3-A408-25EF86B25C82}"/>
              </a:ext>
            </a:extLst>
          </p:cNvPr>
          <p:cNvSpPr txBox="1"/>
          <p:nvPr/>
        </p:nvSpPr>
        <p:spPr bwMode="auto">
          <a:xfrm>
            <a:off x="4382426" y="3295456"/>
            <a:ext cx="248987" cy="300082"/>
          </a:xfrm>
          <a:prstGeom prst="rect">
            <a:avLst/>
          </a:prstGeom>
          <a:solidFill>
            <a:srgbClr val="FFC000"/>
          </a:solidFill>
        </p:spPr>
        <p:txBody>
          <a:bodyPr wrap="square" rtlCol="0">
            <a:spAutoFit/>
          </a:bodyPr>
          <a:lstStyle/>
          <a:p>
            <a:pPr algn="l"/>
            <a:r>
              <a:rPr lang="en-US" sz="1350" b="1" dirty="0"/>
              <a:t>0</a:t>
            </a:r>
            <a:endParaRPr lang="en-GB" sz="1350" b="1" dirty="0"/>
          </a:p>
        </p:txBody>
      </p:sp>
      <p:sp>
        <p:nvSpPr>
          <p:cNvPr id="28" name="Rectangle 27">
            <a:extLst>
              <a:ext uri="{FF2B5EF4-FFF2-40B4-BE49-F238E27FC236}">
                <a16:creationId xmlns:a16="http://schemas.microsoft.com/office/drawing/2014/main" id="{A45AD76E-DF34-44B2-B6C1-8B5D7E51AD35}"/>
              </a:ext>
            </a:extLst>
          </p:cNvPr>
          <p:cNvSpPr/>
          <p:nvPr/>
        </p:nvSpPr>
        <p:spPr>
          <a:xfrm>
            <a:off x="4631413" y="2431520"/>
            <a:ext cx="2978111" cy="1575945"/>
          </a:xfrm>
          <a:custGeom>
            <a:avLst/>
            <a:gdLst>
              <a:gd name="connsiteX0" fmla="*/ 0 w 2978111"/>
              <a:gd name="connsiteY0" fmla="*/ 0 h 1575945"/>
              <a:gd name="connsiteX1" fmla="*/ 536060 w 2978111"/>
              <a:gd name="connsiteY1" fmla="*/ 0 h 1575945"/>
              <a:gd name="connsiteX2" fmla="*/ 1161463 w 2978111"/>
              <a:gd name="connsiteY2" fmla="*/ 0 h 1575945"/>
              <a:gd name="connsiteX3" fmla="*/ 1757085 w 2978111"/>
              <a:gd name="connsiteY3" fmla="*/ 0 h 1575945"/>
              <a:gd name="connsiteX4" fmla="*/ 2352708 w 2978111"/>
              <a:gd name="connsiteY4" fmla="*/ 0 h 1575945"/>
              <a:gd name="connsiteX5" fmla="*/ 2978111 w 2978111"/>
              <a:gd name="connsiteY5" fmla="*/ 0 h 1575945"/>
              <a:gd name="connsiteX6" fmla="*/ 2978111 w 2978111"/>
              <a:gd name="connsiteY6" fmla="*/ 478037 h 1575945"/>
              <a:gd name="connsiteX7" fmla="*/ 2978111 w 2978111"/>
              <a:gd name="connsiteY7" fmla="*/ 1003352 h 1575945"/>
              <a:gd name="connsiteX8" fmla="*/ 2978111 w 2978111"/>
              <a:gd name="connsiteY8" fmla="*/ 1575945 h 1575945"/>
              <a:gd name="connsiteX9" fmla="*/ 2412270 w 2978111"/>
              <a:gd name="connsiteY9" fmla="*/ 1575945 h 1575945"/>
              <a:gd name="connsiteX10" fmla="*/ 1816648 w 2978111"/>
              <a:gd name="connsiteY10" fmla="*/ 1575945 h 1575945"/>
              <a:gd name="connsiteX11" fmla="*/ 1280588 w 2978111"/>
              <a:gd name="connsiteY11" fmla="*/ 1575945 h 1575945"/>
              <a:gd name="connsiteX12" fmla="*/ 714747 w 2978111"/>
              <a:gd name="connsiteY12" fmla="*/ 1575945 h 1575945"/>
              <a:gd name="connsiteX13" fmla="*/ 0 w 2978111"/>
              <a:gd name="connsiteY13" fmla="*/ 1575945 h 1575945"/>
              <a:gd name="connsiteX14" fmla="*/ 0 w 2978111"/>
              <a:gd name="connsiteY14" fmla="*/ 1034871 h 1575945"/>
              <a:gd name="connsiteX15" fmla="*/ 0 w 2978111"/>
              <a:gd name="connsiteY15" fmla="*/ 478037 h 1575945"/>
              <a:gd name="connsiteX16" fmla="*/ 0 w 2978111"/>
              <a:gd name="connsiteY16" fmla="*/ 0 h 157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78111" h="1575945" fill="none" extrusionOk="0">
                <a:moveTo>
                  <a:pt x="0" y="0"/>
                </a:moveTo>
                <a:cubicBezTo>
                  <a:pt x="264921" y="-42269"/>
                  <a:pt x="392300" y="2954"/>
                  <a:pt x="536060" y="0"/>
                </a:cubicBezTo>
                <a:cubicBezTo>
                  <a:pt x="679820" y="-2954"/>
                  <a:pt x="958378" y="36829"/>
                  <a:pt x="1161463" y="0"/>
                </a:cubicBezTo>
                <a:cubicBezTo>
                  <a:pt x="1364548" y="-36829"/>
                  <a:pt x="1610324" y="49055"/>
                  <a:pt x="1757085" y="0"/>
                </a:cubicBezTo>
                <a:cubicBezTo>
                  <a:pt x="1903846" y="-49055"/>
                  <a:pt x="2212504" y="25829"/>
                  <a:pt x="2352708" y="0"/>
                </a:cubicBezTo>
                <a:cubicBezTo>
                  <a:pt x="2492912" y="-25829"/>
                  <a:pt x="2782722" y="54084"/>
                  <a:pt x="2978111" y="0"/>
                </a:cubicBezTo>
                <a:cubicBezTo>
                  <a:pt x="2991999" y="122535"/>
                  <a:pt x="2968003" y="340786"/>
                  <a:pt x="2978111" y="478037"/>
                </a:cubicBezTo>
                <a:cubicBezTo>
                  <a:pt x="2988219" y="615288"/>
                  <a:pt x="2963064" y="830467"/>
                  <a:pt x="2978111" y="1003352"/>
                </a:cubicBezTo>
                <a:cubicBezTo>
                  <a:pt x="2993158" y="1176238"/>
                  <a:pt x="2924358" y="1382976"/>
                  <a:pt x="2978111" y="1575945"/>
                </a:cubicBezTo>
                <a:cubicBezTo>
                  <a:pt x="2732872" y="1642862"/>
                  <a:pt x="2626823" y="1573118"/>
                  <a:pt x="2412270" y="1575945"/>
                </a:cubicBezTo>
                <a:cubicBezTo>
                  <a:pt x="2197717" y="1578772"/>
                  <a:pt x="2026979" y="1531799"/>
                  <a:pt x="1816648" y="1575945"/>
                </a:cubicBezTo>
                <a:cubicBezTo>
                  <a:pt x="1606317" y="1620091"/>
                  <a:pt x="1417288" y="1555115"/>
                  <a:pt x="1280588" y="1575945"/>
                </a:cubicBezTo>
                <a:cubicBezTo>
                  <a:pt x="1143888" y="1596775"/>
                  <a:pt x="980557" y="1525588"/>
                  <a:pt x="714747" y="1575945"/>
                </a:cubicBezTo>
                <a:cubicBezTo>
                  <a:pt x="448937" y="1626302"/>
                  <a:pt x="205879" y="1561646"/>
                  <a:pt x="0" y="1575945"/>
                </a:cubicBezTo>
                <a:cubicBezTo>
                  <a:pt x="-55204" y="1458200"/>
                  <a:pt x="42216" y="1176209"/>
                  <a:pt x="0" y="1034871"/>
                </a:cubicBezTo>
                <a:cubicBezTo>
                  <a:pt x="-42216" y="893533"/>
                  <a:pt x="34728" y="602370"/>
                  <a:pt x="0" y="478037"/>
                </a:cubicBezTo>
                <a:cubicBezTo>
                  <a:pt x="-34728" y="353704"/>
                  <a:pt x="21253" y="192429"/>
                  <a:pt x="0" y="0"/>
                </a:cubicBezTo>
                <a:close/>
              </a:path>
              <a:path w="2978111" h="1575945" stroke="0" extrusionOk="0">
                <a:moveTo>
                  <a:pt x="0" y="0"/>
                </a:moveTo>
                <a:cubicBezTo>
                  <a:pt x="206639" y="-70235"/>
                  <a:pt x="470984" y="44846"/>
                  <a:pt x="625403" y="0"/>
                </a:cubicBezTo>
                <a:cubicBezTo>
                  <a:pt x="779822" y="-44846"/>
                  <a:pt x="983162" y="18774"/>
                  <a:pt x="1191244" y="0"/>
                </a:cubicBezTo>
                <a:cubicBezTo>
                  <a:pt x="1399326" y="-18774"/>
                  <a:pt x="1612945" y="31203"/>
                  <a:pt x="1727304" y="0"/>
                </a:cubicBezTo>
                <a:cubicBezTo>
                  <a:pt x="1841663" y="-31203"/>
                  <a:pt x="2044587" y="14755"/>
                  <a:pt x="2263364" y="0"/>
                </a:cubicBezTo>
                <a:cubicBezTo>
                  <a:pt x="2482141" y="-14755"/>
                  <a:pt x="2633325" y="66667"/>
                  <a:pt x="2978111" y="0"/>
                </a:cubicBezTo>
                <a:cubicBezTo>
                  <a:pt x="2980275" y="129089"/>
                  <a:pt x="2962222" y="293562"/>
                  <a:pt x="2978111" y="509556"/>
                </a:cubicBezTo>
                <a:cubicBezTo>
                  <a:pt x="2994000" y="725550"/>
                  <a:pt x="2921892" y="893231"/>
                  <a:pt x="2978111" y="1003352"/>
                </a:cubicBezTo>
                <a:cubicBezTo>
                  <a:pt x="3034330" y="1113473"/>
                  <a:pt x="2930324" y="1423096"/>
                  <a:pt x="2978111" y="1575945"/>
                </a:cubicBezTo>
                <a:cubicBezTo>
                  <a:pt x="2802609" y="1615283"/>
                  <a:pt x="2478917" y="1521723"/>
                  <a:pt x="2352708" y="1575945"/>
                </a:cubicBezTo>
                <a:cubicBezTo>
                  <a:pt x="2226499" y="1630167"/>
                  <a:pt x="1931570" y="1555006"/>
                  <a:pt x="1786867" y="1575945"/>
                </a:cubicBezTo>
                <a:cubicBezTo>
                  <a:pt x="1642164" y="1596884"/>
                  <a:pt x="1420554" y="1573941"/>
                  <a:pt x="1280588" y="1575945"/>
                </a:cubicBezTo>
                <a:cubicBezTo>
                  <a:pt x="1140622" y="1577949"/>
                  <a:pt x="927863" y="1527791"/>
                  <a:pt x="774309" y="1575945"/>
                </a:cubicBezTo>
                <a:cubicBezTo>
                  <a:pt x="620755" y="1624099"/>
                  <a:pt x="330190" y="1512811"/>
                  <a:pt x="0" y="1575945"/>
                </a:cubicBezTo>
                <a:cubicBezTo>
                  <a:pt x="-33705" y="1321917"/>
                  <a:pt x="34614" y="1218129"/>
                  <a:pt x="0" y="1066389"/>
                </a:cubicBezTo>
                <a:cubicBezTo>
                  <a:pt x="-34614" y="914649"/>
                  <a:pt x="3313" y="767498"/>
                  <a:pt x="0" y="525315"/>
                </a:cubicBezTo>
                <a:cubicBezTo>
                  <a:pt x="-3313" y="283132"/>
                  <a:pt x="18626" y="195837"/>
                  <a:pt x="0" y="0"/>
                </a:cubicBezTo>
                <a:close/>
              </a:path>
            </a:pathLst>
          </a:custGeom>
          <a:solidFill>
            <a:srgbClr val="00B050"/>
          </a:solidFill>
          <a:ln w="28575">
            <a:solidFill>
              <a:schemeClr val="tx1"/>
            </a:solidFill>
            <a:extLst>
              <a:ext uri="{C807C97D-BFC1-408E-A445-0C87EB9F89A2}">
                <ask:lineSketchStyleProps xmlns:ask="http://schemas.microsoft.com/office/drawing/2018/sketchyshapes" sd="2509242954">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38" name="Oval 37">
            <a:extLst>
              <a:ext uri="{FF2B5EF4-FFF2-40B4-BE49-F238E27FC236}">
                <a16:creationId xmlns:a16="http://schemas.microsoft.com/office/drawing/2014/main" id="{AB3A1919-40AE-4C99-89B6-531F27AFFC73}"/>
              </a:ext>
            </a:extLst>
          </p:cNvPr>
          <p:cNvSpPr/>
          <p:nvPr/>
        </p:nvSpPr>
        <p:spPr>
          <a:xfrm>
            <a:off x="5578622" y="2535147"/>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1" name="Oval 40">
            <a:extLst>
              <a:ext uri="{FF2B5EF4-FFF2-40B4-BE49-F238E27FC236}">
                <a16:creationId xmlns:a16="http://schemas.microsoft.com/office/drawing/2014/main" id="{CB401FB1-9960-4FE8-8234-F3A1CB044779}"/>
              </a:ext>
            </a:extLst>
          </p:cNvPr>
          <p:cNvSpPr/>
          <p:nvPr/>
        </p:nvSpPr>
        <p:spPr>
          <a:xfrm>
            <a:off x="5374267" y="2848859"/>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2" name="Oval 41">
            <a:extLst>
              <a:ext uri="{FF2B5EF4-FFF2-40B4-BE49-F238E27FC236}">
                <a16:creationId xmlns:a16="http://schemas.microsoft.com/office/drawing/2014/main" id="{7DE83034-1A14-449F-BCCC-517AEE3B01A0}"/>
              </a:ext>
            </a:extLst>
          </p:cNvPr>
          <p:cNvSpPr/>
          <p:nvPr/>
        </p:nvSpPr>
        <p:spPr>
          <a:xfrm>
            <a:off x="4936807" y="2570847"/>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3" name="Oval 42">
            <a:extLst>
              <a:ext uri="{FF2B5EF4-FFF2-40B4-BE49-F238E27FC236}">
                <a16:creationId xmlns:a16="http://schemas.microsoft.com/office/drawing/2014/main" id="{D6D70853-EF3A-43B4-861E-7786123B6939}"/>
              </a:ext>
            </a:extLst>
          </p:cNvPr>
          <p:cNvSpPr/>
          <p:nvPr/>
        </p:nvSpPr>
        <p:spPr>
          <a:xfrm>
            <a:off x="5076887" y="3015125"/>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4" name="Oval 43">
            <a:extLst>
              <a:ext uri="{FF2B5EF4-FFF2-40B4-BE49-F238E27FC236}">
                <a16:creationId xmlns:a16="http://schemas.microsoft.com/office/drawing/2014/main" id="{5C800A42-63F4-4BF1-BCB1-9C9BD3C65501}"/>
              </a:ext>
            </a:extLst>
          </p:cNvPr>
          <p:cNvSpPr/>
          <p:nvPr/>
        </p:nvSpPr>
        <p:spPr>
          <a:xfrm>
            <a:off x="5420378" y="3459404"/>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5" name="Oval 44">
            <a:extLst>
              <a:ext uri="{FF2B5EF4-FFF2-40B4-BE49-F238E27FC236}">
                <a16:creationId xmlns:a16="http://schemas.microsoft.com/office/drawing/2014/main" id="{BDA826DE-A609-4B84-AE29-78C441F7F409}"/>
              </a:ext>
            </a:extLst>
          </p:cNvPr>
          <p:cNvSpPr/>
          <p:nvPr/>
        </p:nvSpPr>
        <p:spPr>
          <a:xfrm>
            <a:off x="5090249" y="3389163"/>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6" name="Oval 45">
            <a:extLst>
              <a:ext uri="{FF2B5EF4-FFF2-40B4-BE49-F238E27FC236}">
                <a16:creationId xmlns:a16="http://schemas.microsoft.com/office/drawing/2014/main" id="{A1CB9B06-60C7-4F90-ABB6-B8F202A11147}"/>
              </a:ext>
            </a:extLst>
          </p:cNvPr>
          <p:cNvSpPr/>
          <p:nvPr/>
        </p:nvSpPr>
        <p:spPr>
          <a:xfrm>
            <a:off x="4890285" y="3594428"/>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7" name="Oval 46">
            <a:extLst>
              <a:ext uri="{FF2B5EF4-FFF2-40B4-BE49-F238E27FC236}">
                <a16:creationId xmlns:a16="http://schemas.microsoft.com/office/drawing/2014/main" id="{A9816C9A-0C87-46F6-B902-F1E92F574303}"/>
              </a:ext>
            </a:extLst>
          </p:cNvPr>
          <p:cNvSpPr/>
          <p:nvPr/>
        </p:nvSpPr>
        <p:spPr>
          <a:xfrm>
            <a:off x="5482793" y="3661917"/>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8" name="Oval 47">
            <a:extLst>
              <a:ext uri="{FF2B5EF4-FFF2-40B4-BE49-F238E27FC236}">
                <a16:creationId xmlns:a16="http://schemas.microsoft.com/office/drawing/2014/main" id="{271551C3-D261-46D2-906D-0CE1B3CDC32B}"/>
              </a:ext>
            </a:extLst>
          </p:cNvPr>
          <p:cNvSpPr/>
          <p:nvPr/>
        </p:nvSpPr>
        <p:spPr>
          <a:xfrm>
            <a:off x="5213660" y="3791936"/>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49" name="Oval 48">
            <a:extLst>
              <a:ext uri="{FF2B5EF4-FFF2-40B4-BE49-F238E27FC236}">
                <a16:creationId xmlns:a16="http://schemas.microsoft.com/office/drawing/2014/main" id="{868120C6-5ABB-47C9-A8BB-FCED009292D8}"/>
              </a:ext>
            </a:extLst>
          </p:cNvPr>
          <p:cNvSpPr/>
          <p:nvPr/>
        </p:nvSpPr>
        <p:spPr>
          <a:xfrm>
            <a:off x="4766678" y="2892020"/>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50" name="Oval 49">
            <a:extLst>
              <a:ext uri="{FF2B5EF4-FFF2-40B4-BE49-F238E27FC236}">
                <a16:creationId xmlns:a16="http://schemas.microsoft.com/office/drawing/2014/main" id="{8007A44B-8147-4561-A1AD-6333A384DB73}"/>
              </a:ext>
            </a:extLst>
          </p:cNvPr>
          <p:cNvSpPr/>
          <p:nvPr/>
        </p:nvSpPr>
        <p:spPr>
          <a:xfrm>
            <a:off x="4752712" y="3846457"/>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55" name="Oval 54">
            <a:extLst>
              <a:ext uri="{FF2B5EF4-FFF2-40B4-BE49-F238E27FC236}">
                <a16:creationId xmlns:a16="http://schemas.microsoft.com/office/drawing/2014/main" id="{50979B94-6400-4E15-AF70-FE74DDCC709B}"/>
              </a:ext>
            </a:extLst>
          </p:cNvPr>
          <p:cNvSpPr/>
          <p:nvPr/>
        </p:nvSpPr>
        <p:spPr>
          <a:xfrm>
            <a:off x="5306767" y="446108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56" name="Oval 55">
            <a:extLst>
              <a:ext uri="{FF2B5EF4-FFF2-40B4-BE49-F238E27FC236}">
                <a16:creationId xmlns:a16="http://schemas.microsoft.com/office/drawing/2014/main" id="{0F6A5456-1C68-4509-A4B5-EBC251A7BE56}"/>
              </a:ext>
            </a:extLst>
          </p:cNvPr>
          <p:cNvSpPr/>
          <p:nvPr/>
        </p:nvSpPr>
        <p:spPr>
          <a:xfrm>
            <a:off x="5157749" y="1934505"/>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68" name="Oval 67">
            <a:extLst>
              <a:ext uri="{FF2B5EF4-FFF2-40B4-BE49-F238E27FC236}">
                <a16:creationId xmlns:a16="http://schemas.microsoft.com/office/drawing/2014/main" id="{D11665DD-D533-463F-AAB6-FF8627C39C20}"/>
              </a:ext>
            </a:extLst>
          </p:cNvPr>
          <p:cNvSpPr/>
          <p:nvPr/>
        </p:nvSpPr>
        <p:spPr>
          <a:xfrm>
            <a:off x="5511122" y="417301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74" name="Oval 73">
            <a:extLst>
              <a:ext uri="{FF2B5EF4-FFF2-40B4-BE49-F238E27FC236}">
                <a16:creationId xmlns:a16="http://schemas.microsoft.com/office/drawing/2014/main" id="{0255268C-7108-4A8F-8DDF-8C3AD7D46F74}"/>
              </a:ext>
            </a:extLst>
          </p:cNvPr>
          <p:cNvSpPr/>
          <p:nvPr/>
        </p:nvSpPr>
        <p:spPr>
          <a:xfrm>
            <a:off x="4928992" y="447934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76" name="TextBox 75">
            <a:extLst>
              <a:ext uri="{FF2B5EF4-FFF2-40B4-BE49-F238E27FC236}">
                <a16:creationId xmlns:a16="http://schemas.microsoft.com/office/drawing/2014/main" id="{44F8BFF0-06FE-43F7-A3FC-D3FEBDD3068B}"/>
              </a:ext>
            </a:extLst>
          </p:cNvPr>
          <p:cNvSpPr txBox="1"/>
          <p:nvPr/>
        </p:nvSpPr>
        <p:spPr bwMode="auto">
          <a:xfrm>
            <a:off x="240440" y="2002005"/>
            <a:ext cx="1648690" cy="1131147"/>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defPPr>
              <a:defRPr lang="en-US"/>
            </a:defPPr>
            <a:lvl1pPr algn="ctr">
              <a:defRPr b="1" u="sng"/>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350" dirty="0"/>
              <a:t>Minimize: </a:t>
            </a:r>
            <a:r>
              <a:rPr lang="en-US" sz="1050" b="0" u="none" dirty="0"/>
              <a:t>RMSE so that </a:t>
            </a:r>
            <a:r>
              <a:rPr lang="en-US" sz="1050" u="none" dirty="0"/>
              <a:t>Sales Volume can be rightly forecasted</a:t>
            </a:r>
            <a:endParaRPr lang="en-US" sz="1350" b="0" u="none" dirty="0"/>
          </a:p>
        </p:txBody>
      </p:sp>
      <p:sp>
        <p:nvSpPr>
          <p:cNvPr id="78" name="TextBox 77">
            <a:extLst>
              <a:ext uri="{FF2B5EF4-FFF2-40B4-BE49-F238E27FC236}">
                <a16:creationId xmlns:a16="http://schemas.microsoft.com/office/drawing/2014/main" id="{390A8C42-846A-46D7-A3FE-0F7072B0E63D}"/>
              </a:ext>
            </a:extLst>
          </p:cNvPr>
          <p:cNvSpPr txBox="1"/>
          <p:nvPr/>
        </p:nvSpPr>
        <p:spPr bwMode="auto">
          <a:xfrm>
            <a:off x="233121" y="3243813"/>
            <a:ext cx="1656009" cy="135542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defPPr>
              <a:defRPr lang="en-US"/>
            </a:defPPr>
            <a:lvl1pPr algn="ctr">
              <a:defRPr b="1" u="sng">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350" dirty="0"/>
              <a:t>Bounding: </a:t>
            </a:r>
          </a:p>
          <a:p>
            <a:r>
              <a:rPr lang="en-US" sz="1050" b="0" u="none" dirty="0"/>
              <a:t>Tracking Signal bias should be between </a:t>
            </a:r>
            <a:r>
              <a:rPr lang="en-US" sz="1050" u="none" dirty="0"/>
              <a:t>-3.75 </a:t>
            </a:r>
            <a:r>
              <a:rPr lang="en-US" sz="1050" b="0" u="none" dirty="0"/>
              <a:t>to </a:t>
            </a:r>
            <a:r>
              <a:rPr lang="en-US" sz="1050" u="none" dirty="0"/>
              <a:t>+3.75</a:t>
            </a:r>
            <a:r>
              <a:rPr lang="en-US" sz="1050" b="0" u="none" dirty="0"/>
              <a:t> for an efficient model, we are neither highly over or under forecasting</a:t>
            </a:r>
            <a:r>
              <a:rPr lang="en-US" sz="1050" dirty="0"/>
              <a:t>.</a:t>
            </a:r>
            <a:endParaRPr lang="en-GB" sz="1350" dirty="0" err="1"/>
          </a:p>
        </p:txBody>
      </p:sp>
      <p:sp>
        <p:nvSpPr>
          <p:cNvPr id="80" name="Arrow: Up 79">
            <a:extLst>
              <a:ext uri="{FF2B5EF4-FFF2-40B4-BE49-F238E27FC236}">
                <a16:creationId xmlns:a16="http://schemas.microsoft.com/office/drawing/2014/main" id="{0DE6EEE8-BBEF-4453-A3C4-89D5293EA50F}"/>
              </a:ext>
            </a:extLst>
          </p:cNvPr>
          <p:cNvSpPr/>
          <p:nvPr/>
        </p:nvSpPr>
        <p:spPr>
          <a:xfrm rot="10800000">
            <a:off x="1633964" y="2030952"/>
            <a:ext cx="254045" cy="241707"/>
          </a:xfrm>
          <a:prstGeom prst="upArrow">
            <a:avLst/>
          </a:prstGeom>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l"/>
            <a:endParaRPr lang="en-GB" sz="1200" dirty="0" err="1">
              <a:solidFill>
                <a:schemeClr val="tx1"/>
              </a:solidFill>
            </a:endParaRPr>
          </a:p>
        </p:txBody>
      </p:sp>
      <p:sp>
        <p:nvSpPr>
          <p:cNvPr id="84" name="Oval 83">
            <a:extLst>
              <a:ext uri="{FF2B5EF4-FFF2-40B4-BE49-F238E27FC236}">
                <a16:creationId xmlns:a16="http://schemas.microsoft.com/office/drawing/2014/main" id="{8C14D5F5-18F2-450D-B5A6-71F4C98C957C}"/>
              </a:ext>
            </a:extLst>
          </p:cNvPr>
          <p:cNvSpPr/>
          <p:nvPr/>
        </p:nvSpPr>
        <p:spPr>
          <a:xfrm>
            <a:off x="5447141" y="1393435"/>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89" name="Oval 88">
            <a:extLst>
              <a:ext uri="{FF2B5EF4-FFF2-40B4-BE49-F238E27FC236}">
                <a16:creationId xmlns:a16="http://schemas.microsoft.com/office/drawing/2014/main" id="{7E29622E-9041-4CC0-815C-5B152BD1A5A2}"/>
              </a:ext>
            </a:extLst>
          </p:cNvPr>
          <p:cNvSpPr/>
          <p:nvPr/>
        </p:nvSpPr>
        <p:spPr>
          <a:xfrm>
            <a:off x="5479703" y="201753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0" name="Oval 89">
            <a:extLst>
              <a:ext uri="{FF2B5EF4-FFF2-40B4-BE49-F238E27FC236}">
                <a16:creationId xmlns:a16="http://schemas.microsoft.com/office/drawing/2014/main" id="{1219D2B8-549A-4DD3-BB8C-853C9B20529A}"/>
              </a:ext>
            </a:extLst>
          </p:cNvPr>
          <p:cNvSpPr/>
          <p:nvPr/>
        </p:nvSpPr>
        <p:spPr>
          <a:xfrm>
            <a:off x="4956832" y="1374005"/>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1" name="Oval 90">
            <a:extLst>
              <a:ext uri="{FF2B5EF4-FFF2-40B4-BE49-F238E27FC236}">
                <a16:creationId xmlns:a16="http://schemas.microsoft.com/office/drawing/2014/main" id="{9B217C1F-9F1A-4D16-BB16-4FA768CA092B}"/>
              </a:ext>
            </a:extLst>
          </p:cNvPr>
          <p:cNvSpPr/>
          <p:nvPr/>
        </p:nvSpPr>
        <p:spPr>
          <a:xfrm>
            <a:off x="5306767" y="113025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5" name="Oval 94">
            <a:extLst>
              <a:ext uri="{FF2B5EF4-FFF2-40B4-BE49-F238E27FC236}">
                <a16:creationId xmlns:a16="http://schemas.microsoft.com/office/drawing/2014/main" id="{66305C1D-0992-4E9F-8629-144B092DC731}"/>
              </a:ext>
            </a:extLst>
          </p:cNvPr>
          <p:cNvSpPr/>
          <p:nvPr/>
        </p:nvSpPr>
        <p:spPr>
          <a:xfrm>
            <a:off x="5134415" y="459923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6" name="Oval 95">
            <a:extLst>
              <a:ext uri="{FF2B5EF4-FFF2-40B4-BE49-F238E27FC236}">
                <a16:creationId xmlns:a16="http://schemas.microsoft.com/office/drawing/2014/main" id="{895EAF41-CBB9-44AB-9F99-4DFFB06C8A8D}"/>
              </a:ext>
            </a:extLst>
          </p:cNvPr>
          <p:cNvSpPr/>
          <p:nvPr/>
        </p:nvSpPr>
        <p:spPr>
          <a:xfrm>
            <a:off x="5338769" y="431117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7" name="Oval 96">
            <a:extLst>
              <a:ext uri="{FF2B5EF4-FFF2-40B4-BE49-F238E27FC236}">
                <a16:creationId xmlns:a16="http://schemas.microsoft.com/office/drawing/2014/main" id="{91A37140-7ECB-401E-B29E-AF8EFBBD8233}"/>
              </a:ext>
            </a:extLst>
          </p:cNvPr>
          <p:cNvSpPr/>
          <p:nvPr/>
        </p:nvSpPr>
        <p:spPr>
          <a:xfrm>
            <a:off x="4756640" y="461750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8" name="Oval 97">
            <a:extLst>
              <a:ext uri="{FF2B5EF4-FFF2-40B4-BE49-F238E27FC236}">
                <a16:creationId xmlns:a16="http://schemas.microsoft.com/office/drawing/2014/main" id="{380ED616-AA42-4192-814A-078175346789}"/>
              </a:ext>
            </a:extLst>
          </p:cNvPr>
          <p:cNvSpPr/>
          <p:nvPr/>
        </p:nvSpPr>
        <p:spPr>
          <a:xfrm>
            <a:off x="5162374" y="429024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99" name="Oval 98">
            <a:extLst>
              <a:ext uri="{FF2B5EF4-FFF2-40B4-BE49-F238E27FC236}">
                <a16:creationId xmlns:a16="http://schemas.microsoft.com/office/drawing/2014/main" id="{111630D4-6E34-412F-8CF4-BF060E21DEFC}"/>
              </a:ext>
            </a:extLst>
          </p:cNvPr>
          <p:cNvSpPr/>
          <p:nvPr/>
        </p:nvSpPr>
        <p:spPr>
          <a:xfrm>
            <a:off x="5366729" y="4002185"/>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0" name="Oval 99">
            <a:extLst>
              <a:ext uri="{FF2B5EF4-FFF2-40B4-BE49-F238E27FC236}">
                <a16:creationId xmlns:a16="http://schemas.microsoft.com/office/drawing/2014/main" id="{ABEAA0A2-F15F-4BAA-A255-6091014A334C}"/>
              </a:ext>
            </a:extLst>
          </p:cNvPr>
          <p:cNvSpPr/>
          <p:nvPr/>
        </p:nvSpPr>
        <p:spPr>
          <a:xfrm>
            <a:off x="4784599" y="4308512"/>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1" name="Oval 100">
            <a:extLst>
              <a:ext uri="{FF2B5EF4-FFF2-40B4-BE49-F238E27FC236}">
                <a16:creationId xmlns:a16="http://schemas.microsoft.com/office/drawing/2014/main" id="{B60B7BAE-8B82-4941-89FE-491F2954AFF2}"/>
              </a:ext>
            </a:extLst>
          </p:cNvPr>
          <p:cNvSpPr/>
          <p:nvPr/>
        </p:nvSpPr>
        <p:spPr>
          <a:xfrm>
            <a:off x="5149331" y="414222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2" name="Oval 101">
            <a:extLst>
              <a:ext uri="{FF2B5EF4-FFF2-40B4-BE49-F238E27FC236}">
                <a16:creationId xmlns:a16="http://schemas.microsoft.com/office/drawing/2014/main" id="{3ED08FF5-A14A-4675-B807-A791FACD04F0}"/>
              </a:ext>
            </a:extLst>
          </p:cNvPr>
          <p:cNvSpPr/>
          <p:nvPr/>
        </p:nvSpPr>
        <p:spPr>
          <a:xfrm>
            <a:off x="5353685" y="3854156"/>
            <a:ext cx="67500" cy="675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200" dirty="0" err="1">
              <a:solidFill>
                <a:schemeClr val="tx1"/>
              </a:solidFill>
            </a:endParaRPr>
          </a:p>
        </p:txBody>
      </p:sp>
      <p:sp>
        <p:nvSpPr>
          <p:cNvPr id="103" name="Oval 102">
            <a:extLst>
              <a:ext uri="{FF2B5EF4-FFF2-40B4-BE49-F238E27FC236}">
                <a16:creationId xmlns:a16="http://schemas.microsoft.com/office/drawing/2014/main" id="{B0483AB0-7DB1-4009-A2E5-D60FD4F8CF5E}"/>
              </a:ext>
            </a:extLst>
          </p:cNvPr>
          <p:cNvSpPr/>
          <p:nvPr/>
        </p:nvSpPr>
        <p:spPr>
          <a:xfrm>
            <a:off x="4771556" y="416048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4" name="Oval 103">
            <a:extLst>
              <a:ext uri="{FF2B5EF4-FFF2-40B4-BE49-F238E27FC236}">
                <a16:creationId xmlns:a16="http://schemas.microsoft.com/office/drawing/2014/main" id="{A1B7C72B-DB56-4374-BE48-DE7BA31419BD}"/>
              </a:ext>
            </a:extLst>
          </p:cNvPr>
          <p:cNvSpPr/>
          <p:nvPr/>
        </p:nvSpPr>
        <p:spPr>
          <a:xfrm>
            <a:off x="5299229" y="476479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5" name="Oval 104">
            <a:extLst>
              <a:ext uri="{FF2B5EF4-FFF2-40B4-BE49-F238E27FC236}">
                <a16:creationId xmlns:a16="http://schemas.microsoft.com/office/drawing/2014/main" id="{2FDFDCE8-1C3C-49CD-9974-ED8E0DA68ADE}"/>
              </a:ext>
            </a:extLst>
          </p:cNvPr>
          <p:cNvSpPr/>
          <p:nvPr/>
        </p:nvSpPr>
        <p:spPr>
          <a:xfrm>
            <a:off x="5503583" y="447672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6" name="Oval 105">
            <a:extLst>
              <a:ext uri="{FF2B5EF4-FFF2-40B4-BE49-F238E27FC236}">
                <a16:creationId xmlns:a16="http://schemas.microsoft.com/office/drawing/2014/main" id="{47232F50-E8DA-45E0-8AC0-6A128942EC13}"/>
              </a:ext>
            </a:extLst>
          </p:cNvPr>
          <p:cNvSpPr/>
          <p:nvPr/>
        </p:nvSpPr>
        <p:spPr>
          <a:xfrm>
            <a:off x="4921454" y="478305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7" name="Oval 106">
            <a:extLst>
              <a:ext uri="{FF2B5EF4-FFF2-40B4-BE49-F238E27FC236}">
                <a16:creationId xmlns:a16="http://schemas.microsoft.com/office/drawing/2014/main" id="{B219C725-9B96-4493-9BEF-3FFAEA487DFB}"/>
              </a:ext>
            </a:extLst>
          </p:cNvPr>
          <p:cNvSpPr/>
          <p:nvPr/>
        </p:nvSpPr>
        <p:spPr>
          <a:xfrm>
            <a:off x="5019274" y="213991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8" name="Oval 107">
            <a:extLst>
              <a:ext uri="{FF2B5EF4-FFF2-40B4-BE49-F238E27FC236}">
                <a16:creationId xmlns:a16="http://schemas.microsoft.com/office/drawing/2014/main" id="{CA66FB5A-5625-4824-AE4A-C81E9FCB0104}"/>
              </a:ext>
            </a:extLst>
          </p:cNvPr>
          <p:cNvSpPr/>
          <p:nvPr/>
        </p:nvSpPr>
        <p:spPr>
          <a:xfrm>
            <a:off x="5308667" y="159884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09" name="Oval 108">
            <a:extLst>
              <a:ext uri="{FF2B5EF4-FFF2-40B4-BE49-F238E27FC236}">
                <a16:creationId xmlns:a16="http://schemas.microsoft.com/office/drawing/2014/main" id="{F189C022-FC86-4485-8498-18444C28C039}"/>
              </a:ext>
            </a:extLst>
          </p:cNvPr>
          <p:cNvSpPr/>
          <p:nvPr/>
        </p:nvSpPr>
        <p:spPr>
          <a:xfrm>
            <a:off x="5341229" y="2222939"/>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0" name="Oval 109">
            <a:extLst>
              <a:ext uri="{FF2B5EF4-FFF2-40B4-BE49-F238E27FC236}">
                <a16:creationId xmlns:a16="http://schemas.microsoft.com/office/drawing/2014/main" id="{66EEBAC0-6179-4322-8781-041FF6235B8F}"/>
              </a:ext>
            </a:extLst>
          </p:cNvPr>
          <p:cNvSpPr/>
          <p:nvPr/>
        </p:nvSpPr>
        <p:spPr>
          <a:xfrm>
            <a:off x="4818357" y="157941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1" name="Oval 110">
            <a:extLst>
              <a:ext uri="{FF2B5EF4-FFF2-40B4-BE49-F238E27FC236}">
                <a16:creationId xmlns:a16="http://schemas.microsoft.com/office/drawing/2014/main" id="{95789F6C-3D34-4A68-9D3D-5B815BC987A1}"/>
              </a:ext>
            </a:extLst>
          </p:cNvPr>
          <p:cNvSpPr/>
          <p:nvPr/>
        </p:nvSpPr>
        <p:spPr>
          <a:xfrm>
            <a:off x="5168292" y="133566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2" name="Oval 111">
            <a:extLst>
              <a:ext uri="{FF2B5EF4-FFF2-40B4-BE49-F238E27FC236}">
                <a16:creationId xmlns:a16="http://schemas.microsoft.com/office/drawing/2014/main" id="{DF122303-6640-4B64-8218-3BBE84EC4366}"/>
              </a:ext>
            </a:extLst>
          </p:cNvPr>
          <p:cNvSpPr/>
          <p:nvPr/>
        </p:nvSpPr>
        <p:spPr>
          <a:xfrm>
            <a:off x="5076563" y="225708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3" name="Oval 112">
            <a:extLst>
              <a:ext uri="{FF2B5EF4-FFF2-40B4-BE49-F238E27FC236}">
                <a16:creationId xmlns:a16="http://schemas.microsoft.com/office/drawing/2014/main" id="{EFDFCDDB-F98E-4D73-AFDD-88E2A974E4BD}"/>
              </a:ext>
            </a:extLst>
          </p:cNvPr>
          <p:cNvSpPr/>
          <p:nvPr/>
        </p:nvSpPr>
        <p:spPr>
          <a:xfrm>
            <a:off x="5365956" y="171601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4" name="Oval 113">
            <a:extLst>
              <a:ext uri="{FF2B5EF4-FFF2-40B4-BE49-F238E27FC236}">
                <a16:creationId xmlns:a16="http://schemas.microsoft.com/office/drawing/2014/main" id="{2531D5C6-5F54-4192-BA40-E86C26E98855}"/>
              </a:ext>
            </a:extLst>
          </p:cNvPr>
          <p:cNvSpPr/>
          <p:nvPr/>
        </p:nvSpPr>
        <p:spPr>
          <a:xfrm>
            <a:off x="5398518" y="234011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5" name="Oval 114">
            <a:extLst>
              <a:ext uri="{FF2B5EF4-FFF2-40B4-BE49-F238E27FC236}">
                <a16:creationId xmlns:a16="http://schemas.microsoft.com/office/drawing/2014/main" id="{709CB7AD-B7EE-42B0-AB63-3129C283B5F0}"/>
              </a:ext>
            </a:extLst>
          </p:cNvPr>
          <p:cNvSpPr/>
          <p:nvPr/>
        </p:nvSpPr>
        <p:spPr>
          <a:xfrm>
            <a:off x="4875647" y="169658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6" name="Oval 115">
            <a:extLst>
              <a:ext uri="{FF2B5EF4-FFF2-40B4-BE49-F238E27FC236}">
                <a16:creationId xmlns:a16="http://schemas.microsoft.com/office/drawing/2014/main" id="{D8707816-3017-484B-A9DA-749BC3BD9A6B}"/>
              </a:ext>
            </a:extLst>
          </p:cNvPr>
          <p:cNvSpPr/>
          <p:nvPr/>
        </p:nvSpPr>
        <p:spPr>
          <a:xfrm>
            <a:off x="5225582" y="145284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7" name="Oval 116">
            <a:extLst>
              <a:ext uri="{FF2B5EF4-FFF2-40B4-BE49-F238E27FC236}">
                <a16:creationId xmlns:a16="http://schemas.microsoft.com/office/drawing/2014/main" id="{4321FC26-059A-47A3-AD92-53F4B4FB47B0}"/>
              </a:ext>
            </a:extLst>
          </p:cNvPr>
          <p:cNvSpPr/>
          <p:nvPr/>
        </p:nvSpPr>
        <p:spPr>
          <a:xfrm>
            <a:off x="4857956" y="197915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8" name="Oval 117">
            <a:extLst>
              <a:ext uri="{FF2B5EF4-FFF2-40B4-BE49-F238E27FC236}">
                <a16:creationId xmlns:a16="http://schemas.microsoft.com/office/drawing/2014/main" id="{849B9048-B3BF-4FBE-AFCE-1EC4421EA67E}"/>
              </a:ext>
            </a:extLst>
          </p:cNvPr>
          <p:cNvSpPr/>
          <p:nvPr/>
        </p:nvSpPr>
        <p:spPr>
          <a:xfrm>
            <a:off x="5179910" y="2062182"/>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19" name="Oval 118">
            <a:extLst>
              <a:ext uri="{FF2B5EF4-FFF2-40B4-BE49-F238E27FC236}">
                <a16:creationId xmlns:a16="http://schemas.microsoft.com/office/drawing/2014/main" id="{4D159E02-8FE3-4A6F-B8C5-CF0AA61599F2}"/>
              </a:ext>
            </a:extLst>
          </p:cNvPr>
          <p:cNvSpPr/>
          <p:nvPr/>
        </p:nvSpPr>
        <p:spPr>
          <a:xfrm>
            <a:off x="4719481" y="218456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20" name="Oval 119">
            <a:extLst>
              <a:ext uri="{FF2B5EF4-FFF2-40B4-BE49-F238E27FC236}">
                <a16:creationId xmlns:a16="http://schemas.microsoft.com/office/drawing/2014/main" id="{6FF7ECAA-B26A-4D95-8716-31F4ED6FB289}"/>
              </a:ext>
            </a:extLst>
          </p:cNvPr>
          <p:cNvSpPr/>
          <p:nvPr/>
        </p:nvSpPr>
        <p:spPr>
          <a:xfrm>
            <a:off x="5066163" y="1760669"/>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pic>
        <p:nvPicPr>
          <p:cNvPr id="3074" name="Picture 2" descr="Forecast Error &amp; Tracking | Apics Forum">
            <a:extLst>
              <a:ext uri="{FF2B5EF4-FFF2-40B4-BE49-F238E27FC236}">
                <a16:creationId xmlns:a16="http://schemas.microsoft.com/office/drawing/2014/main" id="{5202CBBA-4280-4FC1-96F1-8B91075DE5C2}"/>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69937" y="916753"/>
            <a:ext cx="2661477" cy="1414340"/>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Rope Knot with solid fill">
            <a:extLst>
              <a:ext uri="{FF2B5EF4-FFF2-40B4-BE49-F238E27FC236}">
                <a16:creationId xmlns:a16="http://schemas.microsoft.com/office/drawing/2014/main" id="{1CA45069-C93E-4910-87EA-E4B650ADFA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34476" y="3219492"/>
            <a:ext cx="352963" cy="352963"/>
          </a:xfrm>
          <a:prstGeom prst="rect">
            <a:avLst/>
          </a:prstGeom>
        </p:spPr>
      </p:pic>
      <p:sp>
        <p:nvSpPr>
          <p:cNvPr id="2" name="Oval 1">
            <a:extLst>
              <a:ext uri="{FF2B5EF4-FFF2-40B4-BE49-F238E27FC236}">
                <a16:creationId xmlns:a16="http://schemas.microsoft.com/office/drawing/2014/main" id="{4BEA245D-938C-477E-AE10-79AEDCB7796C}"/>
              </a:ext>
            </a:extLst>
          </p:cNvPr>
          <p:cNvSpPr/>
          <p:nvPr/>
        </p:nvSpPr>
        <p:spPr>
          <a:xfrm>
            <a:off x="4784599" y="2431520"/>
            <a:ext cx="349064" cy="344379"/>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sp>
        <p:nvSpPr>
          <p:cNvPr id="72" name="Oval 71">
            <a:extLst>
              <a:ext uri="{FF2B5EF4-FFF2-40B4-BE49-F238E27FC236}">
                <a16:creationId xmlns:a16="http://schemas.microsoft.com/office/drawing/2014/main" id="{8C7E72F9-762C-4248-B447-CA7573F7427E}"/>
              </a:ext>
            </a:extLst>
          </p:cNvPr>
          <p:cNvSpPr/>
          <p:nvPr/>
        </p:nvSpPr>
        <p:spPr>
          <a:xfrm>
            <a:off x="4741462" y="3485102"/>
            <a:ext cx="349064" cy="34646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1200" dirty="0" err="1">
              <a:solidFill>
                <a:schemeClr val="tx1"/>
              </a:solidFill>
            </a:endParaRPr>
          </a:p>
        </p:txBody>
      </p:sp>
      <p:cxnSp>
        <p:nvCxnSpPr>
          <p:cNvPr id="6" name="Straight Arrow Connector 5">
            <a:extLst>
              <a:ext uri="{FF2B5EF4-FFF2-40B4-BE49-F238E27FC236}">
                <a16:creationId xmlns:a16="http://schemas.microsoft.com/office/drawing/2014/main" id="{323CF786-878E-4B6A-921D-C357CDDAA9C5}"/>
              </a:ext>
            </a:extLst>
          </p:cNvPr>
          <p:cNvCxnSpPr>
            <a:cxnSpLocks/>
          </p:cNvCxnSpPr>
          <p:nvPr/>
        </p:nvCxnSpPr>
        <p:spPr>
          <a:xfrm flipH="1">
            <a:off x="5123388" y="1754648"/>
            <a:ext cx="1508162" cy="79441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77" name="Straight Arrow Connector 76">
            <a:extLst>
              <a:ext uri="{FF2B5EF4-FFF2-40B4-BE49-F238E27FC236}">
                <a16:creationId xmlns:a16="http://schemas.microsoft.com/office/drawing/2014/main" id="{9D502F8E-0264-4952-8CC8-AD2FB9AB773D}"/>
              </a:ext>
            </a:extLst>
          </p:cNvPr>
          <p:cNvCxnSpPr>
            <a:cxnSpLocks/>
            <a:endCxn id="72" idx="6"/>
          </p:cNvCxnSpPr>
          <p:nvPr/>
        </p:nvCxnSpPr>
        <p:spPr>
          <a:xfrm flipH="1">
            <a:off x="5090526" y="1923599"/>
            <a:ext cx="1665599" cy="173473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27" name="Oval 126">
            <a:extLst>
              <a:ext uri="{FF2B5EF4-FFF2-40B4-BE49-F238E27FC236}">
                <a16:creationId xmlns:a16="http://schemas.microsoft.com/office/drawing/2014/main" id="{97D6C3D9-F800-4F9E-8122-78F491C15D64}"/>
              </a:ext>
            </a:extLst>
          </p:cNvPr>
          <p:cNvSpPr/>
          <p:nvPr/>
        </p:nvSpPr>
        <p:spPr>
          <a:xfrm>
            <a:off x="6876695" y="316158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28" name="Oval 127">
            <a:extLst>
              <a:ext uri="{FF2B5EF4-FFF2-40B4-BE49-F238E27FC236}">
                <a16:creationId xmlns:a16="http://schemas.microsoft.com/office/drawing/2014/main" id="{BDAEC055-27E8-44C9-AACE-41C5D355C5A5}"/>
              </a:ext>
            </a:extLst>
          </p:cNvPr>
          <p:cNvSpPr/>
          <p:nvPr/>
        </p:nvSpPr>
        <p:spPr>
          <a:xfrm>
            <a:off x="7166087" y="262051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29" name="Oval 128">
            <a:extLst>
              <a:ext uri="{FF2B5EF4-FFF2-40B4-BE49-F238E27FC236}">
                <a16:creationId xmlns:a16="http://schemas.microsoft.com/office/drawing/2014/main" id="{A5EB8E57-D66B-4DA3-B1BB-986C634D66CD}"/>
              </a:ext>
            </a:extLst>
          </p:cNvPr>
          <p:cNvSpPr/>
          <p:nvPr/>
        </p:nvSpPr>
        <p:spPr>
          <a:xfrm>
            <a:off x="7198649" y="3244610"/>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0" name="Oval 129">
            <a:extLst>
              <a:ext uri="{FF2B5EF4-FFF2-40B4-BE49-F238E27FC236}">
                <a16:creationId xmlns:a16="http://schemas.microsoft.com/office/drawing/2014/main" id="{7BCB90B5-5C29-43B9-8384-EDD07065D9C5}"/>
              </a:ext>
            </a:extLst>
          </p:cNvPr>
          <p:cNvSpPr/>
          <p:nvPr/>
        </p:nvSpPr>
        <p:spPr>
          <a:xfrm>
            <a:off x="6675778" y="260108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1" name="Oval 130">
            <a:extLst>
              <a:ext uri="{FF2B5EF4-FFF2-40B4-BE49-F238E27FC236}">
                <a16:creationId xmlns:a16="http://schemas.microsoft.com/office/drawing/2014/main" id="{234FE48A-AB84-41FA-BDEE-E98BBA576655}"/>
              </a:ext>
            </a:extLst>
          </p:cNvPr>
          <p:cNvSpPr/>
          <p:nvPr/>
        </p:nvSpPr>
        <p:spPr>
          <a:xfrm>
            <a:off x="6738220" y="3366994"/>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2" name="Oval 131">
            <a:extLst>
              <a:ext uri="{FF2B5EF4-FFF2-40B4-BE49-F238E27FC236}">
                <a16:creationId xmlns:a16="http://schemas.microsoft.com/office/drawing/2014/main" id="{63ED0053-4D1A-4710-B761-CFAA6B151FD7}"/>
              </a:ext>
            </a:extLst>
          </p:cNvPr>
          <p:cNvSpPr/>
          <p:nvPr/>
        </p:nvSpPr>
        <p:spPr>
          <a:xfrm>
            <a:off x="7027613" y="2825923"/>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3" name="Oval 132">
            <a:extLst>
              <a:ext uri="{FF2B5EF4-FFF2-40B4-BE49-F238E27FC236}">
                <a16:creationId xmlns:a16="http://schemas.microsoft.com/office/drawing/2014/main" id="{DC589F58-BBC8-49AC-A6DC-E4D0C758ACB8}"/>
              </a:ext>
            </a:extLst>
          </p:cNvPr>
          <p:cNvSpPr/>
          <p:nvPr/>
        </p:nvSpPr>
        <p:spPr>
          <a:xfrm>
            <a:off x="6537303" y="2806494"/>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4" name="Oval 133">
            <a:extLst>
              <a:ext uri="{FF2B5EF4-FFF2-40B4-BE49-F238E27FC236}">
                <a16:creationId xmlns:a16="http://schemas.microsoft.com/office/drawing/2014/main" id="{9E152729-92F4-4227-9C52-848522535391}"/>
              </a:ext>
            </a:extLst>
          </p:cNvPr>
          <p:cNvSpPr/>
          <p:nvPr/>
        </p:nvSpPr>
        <p:spPr>
          <a:xfrm>
            <a:off x="6887238" y="2562746"/>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5" name="Oval 134">
            <a:extLst>
              <a:ext uri="{FF2B5EF4-FFF2-40B4-BE49-F238E27FC236}">
                <a16:creationId xmlns:a16="http://schemas.microsoft.com/office/drawing/2014/main" id="{1474EC81-E4AD-44DC-9D48-A3D0259C88E4}"/>
              </a:ext>
            </a:extLst>
          </p:cNvPr>
          <p:cNvSpPr/>
          <p:nvPr/>
        </p:nvSpPr>
        <p:spPr>
          <a:xfrm>
            <a:off x="7084902" y="2943097"/>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6" name="Oval 135">
            <a:extLst>
              <a:ext uri="{FF2B5EF4-FFF2-40B4-BE49-F238E27FC236}">
                <a16:creationId xmlns:a16="http://schemas.microsoft.com/office/drawing/2014/main" id="{AC5BDD95-1FE1-461E-850C-20F8A343C0B0}"/>
              </a:ext>
            </a:extLst>
          </p:cNvPr>
          <p:cNvSpPr/>
          <p:nvPr/>
        </p:nvSpPr>
        <p:spPr>
          <a:xfrm>
            <a:off x="6594593" y="2923668"/>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7" name="Oval 136">
            <a:extLst>
              <a:ext uri="{FF2B5EF4-FFF2-40B4-BE49-F238E27FC236}">
                <a16:creationId xmlns:a16="http://schemas.microsoft.com/office/drawing/2014/main" id="{5BBF4DDD-0013-4ED6-A6A1-267C05BE87C1}"/>
              </a:ext>
            </a:extLst>
          </p:cNvPr>
          <p:cNvSpPr/>
          <p:nvPr/>
        </p:nvSpPr>
        <p:spPr>
          <a:xfrm>
            <a:off x="6944528" y="2679920"/>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8" name="Oval 137">
            <a:extLst>
              <a:ext uri="{FF2B5EF4-FFF2-40B4-BE49-F238E27FC236}">
                <a16:creationId xmlns:a16="http://schemas.microsoft.com/office/drawing/2014/main" id="{FCF76F7F-D949-4731-8E11-75DE90ACEE7F}"/>
              </a:ext>
            </a:extLst>
          </p:cNvPr>
          <p:cNvSpPr/>
          <p:nvPr/>
        </p:nvSpPr>
        <p:spPr>
          <a:xfrm>
            <a:off x="6576902" y="3206237"/>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39" name="Oval 138">
            <a:extLst>
              <a:ext uri="{FF2B5EF4-FFF2-40B4-BE49-F238E27FC236}">
                <a16:creationId xmlns:a16="http://schemas.microsoft.com/office/drawing/2014/main" id="{FEE49EF8-F5DB-48A0-AACC-7F9B0EAD4449}"/>
              </a:ext>
            </a:extLst>
          </p:cNvPr>
          <p:cNvSpPr/>
          <p:nvPr/>
        </p:nvSpPr>
        <p:spPr>
          <a:xfrm>
            <a:off x="6898856" y="3289262"/>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0" name="Oval 139">
            <a:extLst>
              <a:ext uri="{FF2B5EF4-FFF2-40B4-BE49-F238E27FC236}">
                <a16:creationId xmlns:a16="http://schemas.microsoft.com/office/drawing/2014/main" id="{83CC9EBC-8709-4891-A033-247D663989BA}"/>
              </a:ext>
            </a:extLst>
          </p:cNvPr>
          <p:cNvSpPr/>
          <p:nvPr/>
        </p:nvSpPr>
        <p:spPr>
          <a:xfrm>
            <a:off x="6785109" y="2987749"/>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1" name="Oval 140">
            <a:extLst>
              <a:ext uri="{FF2B5EF4-FFF2-40B4-BE49-F238E27FC236}">
                <a16:creationId xmlns:a16="http://schemas.microsoft.com/office/drawing/2014/main" id="{38353CDA-5917-467F-845A-E00A558ED599}"/>
              </a:ext>
            </a:extLst>
          </p:cNvPr>
          <p:cNvSpPr/>
          <p:nvPr/>
        </p:nvSpPr>
        <p:spPr>
          <a:xfrm>
            <a:off x="6176478" y="3578566"/>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2" name="Oval 141">
            <a:extLst>
              <a:ext uri="{FF2B5EF4-FFF2-40B4-BE49-F238E27FC236}">
                <a16:creationId xmlns:a16="http://schemas.microsoft.com/office/drawing/2014/main" id="{DA3CDFDD-BD2B-4CCD-9AE9-24A5461BBC58}"/>
              </a:ext>
            </a:extLst>
          </p:cNvPr>
          <p:cNvSpPr/>
          <p:nvPr/>
        </p:nvSpPr>
        <p:spPr>
          <a:xfrm>
            <a:off x="6465870" y="3037496"/>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3" name="Oval 142">
            <a:extLst>
              <a:ext uri="{FF2B5EF4-FFF2-40B4-BE49-F238E27FC236}">
                <a16:creationId xmlns:a16="http://schemas.microsoft.com/office/drawing/2014/main" id="{34DEF42E-CF44-47ED-9FE2-6EA271E2CAB6}"/>
              </a:ext>
            </a:extLst>
          </p:cNvPr>
          <p:cNvSpPr/>
          <p:nvPr/>
        </p:nvSpPr>
        <p:spPr>
          <a:xfrm>
            <a:off x="6498432" y="3661591"/>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4" name="Oval 143">
            <a:extLst>
              <a:ext uri="{FF2B5EF4-FFF2-40B4-BE49-F238E27FC236}">
                <a16:creationId xmlns:a16="http://schemas.microsoft.com/office/drawing/2014/main" id="{5DE82834-3465-4F6C-8AF0-2A8503DA9EB9}"/>
              </a:ext>
            </a:extLst>
          </p:cNvPr>
          <p:cNvSpPr/>
          <p:nvPr/>
        </p:nvSpPr>
        <p:spPr>
          <a:xfrm>
            <a:off x="5975561" y="3018066"/>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5" name="Oval 144">
            <a:extLst>
              <a:ext uri="{FF2B5EF4-FFF2-40B4-BE49-F238E27FC236}">
                <a16:creationId xmlns:a16="http://schemas.microsoft.com/office/drawing/2014/main" id="{0841C03E-C407-410B-B617-72FF42A42EFD}"/>
              </a:ext>
            </a:extLst>
          </p:cNvPr>
          <p:cNvSpPr/>
          <p:nvPr/>
        </p:nvSpPr>
        <p:spPr>
          <a:xfrm>
            <a:off x="6038003" y="378397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6" name="Oval 145">
            <a:extLst>
              <a:ext uri="{FF2B5EF4-FFF2-40B4-BE49-F238E27FC236}">
                <a16:creationId xmlns:a16="http://schemas.microsoft.com/office/drawing/2014/main" id="{F48E912A-7444-4D25-AED0-941857C73906}"/>
              </a:ext>
            </a:extLst>
          </p:cNvPr>
          <p:cNvSpPr/>
          <p:nvPr/>
        </p:nvSpPr>
        <p:spPr>
          <a:xfrm>
            <a:off x="6327396" y="3242904"/>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7" name="Oval 146">
            <a:extLst>
              <a:ext uri="{FF2B5EF4-FFF2-40B4-BE49-F238E27FC236}">
                <a16:creationId xmlns:a16="http://schemas.microsoft.com/office/drawing/2014/main" id="{2F8FBF9B-5468-4F15-847A-BC130A43B78D}"/>
              </a:ext>
            </a:extLst>
          </p:cNvPr>
          <p:cNvSpPr/>
          <p:nvPr/>
        </p:nvSpPr>
        <p:spPr>
          <a:xfrm>
            <a:off x="5837086" y="322347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8" name="Oval 147">
            <a:extLst>
              <a:ext uri="{FF2B5EF4-FFF2-40B4-BE49-F238E27FC236}">
                <a16:creationId xmlns:a16="http://schemas.microsoft.com/office/drawing/2014/main" id="{BF3B2B7C-0D36-4D19-BDCC-0A9D32B0EC82}"/>
              </a:ext>
            </a:extLst>
          </p:cNvPr>
          <p:cNvSpPr/>
          <p:nvPr/>
        </p:nvSpPr>
        <p:spPr>
          <a:xfrm>
            <a:off x="6187021" y="2979727"/>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49" name="Oval 148">
            <a:extLst>
              <a:ext uri="{FF2B5EF4-FFF2-40B4-BE49-F238E27FC236}">
                <a16:creationId xmlns:a16="http://schemas.microsoft.com/office/drawing/2014/main" id="{9BF86F36-DFC9-4674-9475-9C6D61497122}"/>
              </a:ext>
            </a:extLst>
          </p:cNvPr>
          <p:cNvSpPr/>
          <p:nvPr/>
        </p:nvSpPr>
        <p:spPr>
          <a:xfrm>
            <a:off x="6384685" y="3360078"/>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0" name="Oval 149">
            <a:extLst>
              <a:ext uri="{FF2B5EF4-FFF2-40B4-BE49-F238E27FC236}">
                <a16:creationId xmlns:a16="http://schemas.microsoft.com/office/drawing/2014/main" id="{2B5960D5-8562-4C0B-B2C7-3D82BFA32940}"/>
              </a:ext>
            </a:extLst>
          </p:cNvPr>
          <p:cNvSpPr/>
          <p:nvPr/>
        </p:nvSpPr>
        <p:spPr>
          <a:xfrm>
            <a:off x="5894376" y="3340649"/>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1" name="Oval 150">
            <a:extLst>
              <a:ext uri="{FF2B5EF4-FFF2-40B4-BE49-F238E27FC236}">
                <a16:creationId xmlns:a16="http://schemas.microsoft.com/office/drawing/2014/main" id="{4D5119D2-3DB8-47C3-8F84-B8A9C2CDE6F1}"/>
              </a:ext>
            </a:extLst>
          </p:cNvPr>
          <p:cNvSpPr/>
          <p:nvPr/>
        </p:nvSpPr>
        <p:spPr>
          <a:xfrm>
            <a:off x="6244311" y="3096901"/>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2" name="Oval 151">
            <a:extLst>
              <a:ext uri="{FF2B5EF4-FFF2-40B4-BE49-F238E27FC236}">
                <a16:creationId xmlns:a16="http://schemas.microsoft.com/office/drawing/2014/main" id="{07559C08-D40A-47B4-9E74-EAA5211476CB}"/>
              </a:ext>
            </a:extLst>
          </p:cNvPr>
          <p:cNvSpPr/>
          <p:nvPr/>
        </p:nvSpPr>
        <p:spPr>
          <a:xfrm>
            <a:off x="5876685" y="3623218"/>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3" name="Oval 152">
            <a:extLst>
              <a:ext uri="{FF2B5EF4-FFF2-40B4-BE49-F238E27FC236}">
                <a16:creationId xmlns:a16="http://schemas.microsoft.com/office/drawing/2014/main" id="{FD0335D6-855B-418F-92E4-E39B29492927}"/>
              </a:ext>
            </a:extLst>
          </p:cNvPr>
          <p:cNvSpPr/>
          <p:nvPr/>
        </p:nvSpPr>
        <p:spPr>
          <a:xfrm>
            <a:off x="6198639" y="3706243"/>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4" name="Oval 153">
            <a:extLst>
              <a:ext uri="{FF2B5EF4-FFF2-40B4-BE49-F238E27FC236}">
                <a16:creationId xmlns:a16="http://schemas.microsoft.com/office/drawing/2014/main" id="{DA390B26-B03B-4FE1-8583-41098C910F59}"/>
              </a:ext>
            </a:extLst>
          </p:cNvPr>
          <p:cNvSpPr/>
          <p:nvPr/>
        </p:nvSpPr>
        <p:spPr>
          <a:xfrm>
            <a:off x="6084892" y="3404730"/>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5" name="Oval 154">
            <a:extLst>
              <a:ext uri="{FF2B5EF4-FFF2-40B4-BE49-F238E27FC236}">
                <a16:creationId xmlns:a16="http://schemas.microsoft.com/office/drawing/2014/main" id="{C43ED7D2-D615-489D-A136-5B417F50C0DB}"/>
              </a:ext>
            </a:extLst>
          </p:cNvPr>
          <p:cNvSpPr/>
          <p:nvPr/>
        </p:nvSpPr>
        <p:spPr>
          <a:xfrm>
            <a:off x="6044877" y="317372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6" name="Oval 155">
            <a:extLst>
              <a:ext uri="{FF2B5EF4-FFF2-40B4-BE49-F238E27FC236}">
                <a16:creationId xmlns:a16="http://schemas.microsoft.com/office/drawing/2014/main" id="{E6F77DBF-C98F-4258-B791-E656EB0030F1}"/>
              </a:ext>
            </a:extLst>
          </p:cNvPr>
          <p:cNvSpPr/>
          <p:nvPr/>
        </p:nvSpPr>
        <p:spPr>
          <a:xfrm>
            <a:off x="6334269" y="263265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7" name="Oval 156">
            <a:extLst>
              <a:ext uri="{FF2B5EF4-FFF2-40B4-BE49-F238E27FC236}">
                <a16:creationId xmlns:a16="http://schemas.microsoft.com/office/drawing/2014/main" id="{ADF8DDFA-FB03-4EA1-B7F8-7F0EC8557311}"/>
              </a:ext>
            </a:extLst>
          </p:cNvPr>
          <p:cNvSpPr/>
          <p:nvPr/>
        </p:nvSpPr>
        <p:spPr>
          <a:xfrm>
            <a:off x="6366831" y="3256750"/>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8" name="Oval 157">
            <a:extLst>
              <a:ext uri="{FF2B5EF4-FFF2-40B4-BE49-F238E27FC236}">
                <a16:creationId xmlns:a16="http://schemas.microsoft.com/office/drawing/2014/main" id="{16260D1B-8C59-4938-820A-6B80EC78A786}"/>
              </a:ext>
            </a:extLst>
          </p:cNvPr>
          <p:cNvSpPr/>
          <p:nvPr/>
        </p:nvSpPr>
        <p:spPr>
          <a:xfrm>
            <a:off x="5843960" y="2613225"/>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59" name="Oval 158">
            <a:extLst>
              <a:ext uri="{FF2B5EF4-FFF2-40B4-BE49-F238E27FC236}">
                <a16:creationId xmlns:a16="http://schemas.microsoft.com/office/drawing/2014/main" id="{640124B9-6D5F-4A7F-BA3E-32E432477579}"/>
              </a:ext>
            </a:extLst>
          </p:cNvPr>
          <p:cNvSpPr/>
          <p:nvPr/>
        </p:nvSpPr>
        <p:spPr>
          <a:xfrm>
            <a:off x="5906402" y="3379134"/>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0" name="Oval 159">
            <a:extLst>
              <a:ext uri="{FF2B5EF4-FFF2-40B4-BE49-F238E27FC236}">
                <a16:creationId xmlns:a16="http://schemas.microsoft.com/office/drawing/2014/main" id="{8CD97617-FDF5-47D8-9963-8C27306F91B8}"/>
              </a:ext>
            </a:extLst>
          </p:cNvPr>
          <p:cNvSpPr/>
          <p:nvPr/>
        </p:nvSpPr>
        <p:spPr>
          <a:xfrm>
            <a:off x="6195795" y="2838063"/>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1" name="Oval 160">
            <a:extLst>
              <a:ext uri="{FF2B5EF4-FFF2-40B4-BE49-F238E27FC236}">
                <a16:creationId xmlns:a16="http://schemas.microsoft.com/office/drawing/2014/main" id="{05F29639-AE0B-4B95-9FEF-2669948CCE2F}"/>
              </a:ext>
            </a:extLst>
          </p:cNvPr>
          <p:cNvSpPr/>
          <p:nvPr/>
        </p:nvSpPr>
        <p:spPr>
          <a:xfrm>
            <a:off x="5705485" y="2818634"/>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2" name="Oval 161">
            <a:extLst>
              <a:ext uri="{FF2B5EF4-FFF2-40B4-BE49-F238E27FC236}">
                <a16:creationId xmlns:a16="http://schemas.microsoft.com/office/drawing/2014/main" id="{EBDA4D92-0BAB-40F2-B354-5C4490122F23}"/>
              </a:ext>
            </a:extLst>
          </p:cNvPr>
          <p:cNvSpPr/>
          <p:nvPr/>
        </p:nvSpPr>
        <p:spPr>
          <a:xfrm>
            <a:off x="6055420" y="2574886"/>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3" name="Oval 162">
            <a:extLst>
              <a:ext uri="{FF2B5EF4-FFF2-40B4-BE49-F238E27FC236}">
                <a16:creationId xmlns:a16="http://schemas.microsoft.com/office/drawing/2014/main" id="{F9916209-E0DA-448D-B505-46275BE40094}"/>
              </a:ext>
            </a:extLst>
          </p:cNvPr>
          <p:cNvSpPr/>
          <p:nvPr/>
        </p:nvSpPr>
        <p:spPr>
          <a:xfrm>
            <a:off x="6253084" y="2955237"/>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4" name="Oval 163">
            <a:extLst>
              <a:ext uri="{FF2B5EF4-FFF2-40B4-BE49-F238E27FC236}">
                <a16:creationId xmlns:a16="http://schemas.microsoft.com/office/drawing/2014/main" id="{9955A64B-5AD9-4CAB-8E5D-D650231A38CD}"/>
              </a:ext>
            </a:extLst>
          </p:cNvPr>
          <p:cNvSpPr/>
          <p:nvPr/>
        </p:nvSpPr>
        <p:spPr>
          <a:xfrm>
            <a:off x="5762775" y="2935808"/>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5" name="Oval 164">
            <a:extLst>
              <a:ext uri="{FF2B5EF4-FFF2-40B4-BE49-F238E27FC236}">
                <a16:creationId xmlns:a16="http://schemas.microsoft.com/office/drawing/2014/main" id="{B0B38684-8730-4214-A41D-269F1C8CC41D}"/>
              </a:ext>
            </a:extLst>
          </p:cNvPr>
          <p:cNvSpPr/>
          <p:nvPr/>
        </p:nvSpPr>
        <p:spPr>
          <a:xfrm>
            <a:off x="6112710" y="2692060"/>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6" name="Oval 165">
            <a:extLst>
              <a:ext uri="{FF2B5EF4-FFF2-40B4-BE49-F238E27FC236}">
                <a16:creationId xmlns:a16="http://schemas.microsoft.com/office/drawing/2014/main" id="{A50C4BFA-DFCD-4A10-9AD7-8E30E2F61CEB}"/>
              </a:ext>
            </a:extLst>
          </p:cNvPr>
          <p:cNvSpPr/>
          <p:nvPr/>
        </p:nvSpPr>
        <p:spPr>
          <a:xfrm>
            <a:off x="5745084" y="3218377"/>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7" name="Oval 166">
            <a:extLst>
              <a:ext uri="{FF2B5EF4-FFF2-40B4-BE49-F238E27FC236}">
                <a16:creationId xmlns:a16="http://schemas.microsoft.com/office/drawing/2014/main" id="{CF4649D6-C102-4762-8503-909434F7E3EE}"/>
              </a:ext>
            </a:extLst>
          </p:cNvPr>
          <p:cNvSpPr/>
          <p:nvPr/>
        </p:nvSpPr>
        <p:spPr>
          <a:xfrm>
            <a:off x="6067038" y="3301402"/>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8" name="Oval 167">
            <a:extLst>
              <a:ext uri="{FF2B5EF4-FFF2-40B4-BE49-F238E27FC236}">
                <a16:creationId xmlns:a16="http://schemas.microsoft.com/office/drawing/2014/main" id="{3B20DB1B-D121-492A-8C94-B8C1C5A182D0}"/>
              </a:ext>
            </a:extLst>
          </p:cNvPr>
          <p:cNvSpPr/>
          <p:nvPr/>
        </p:nvSpPr>
        <p:spPr>
          <a:xfrm>
            <a:off x="5953291" y="2999889"/>
            <a:ext cx="67500" cy="67500"/>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69" name="Oval 168">
            <a:extLst>
              <a:ext uri="{FF2B5EF4-FFF2-40B4-BE49-F238E27FC236}">
                <a16:creationId xmlns:a16="http://schemas.microsoft.com/office/drawing/2014/main" id="{A2D230AA-3768-4D85-9B3C-B1EC05DC6ABA}"/>
              </a:ext>
            </a:extLst>
          </p:cNvPr>
          <p:cNvSpPr/>
          <p:nvPr/>
        </p:nvSpPr>
        <p:spPr>
          <a:xfrm>
            <a:off x="6000293" y="180029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0" name="Oval 169">
            <a:extLst>
              <a:ext uri="{FF2B5EF4-FFF2-40B4-BE49-F238E27FC236}">
                <a16:creationId xmlns:a16="http://schemas.microsoft.com/office/drawing/2014/main" id="{E5A63A4A-E19B-4EB4-8755-1356AB95F878}"/>
              </a:ext>
            </a:extLst>
          </p:cNvPr>
          <p:cNvSpPr/>
          <p:nvPr/>
        </p:nvSpPr>
        <p:spPr>
          <a:xfrm>
            <a:off x="6289685" y="125922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1" name="Oval 170">
            <a:extLst>
              <a:ext uri="{FF2B5EF4-FFF2-40B4-BE49-F238E27FC236}">
                <a16:creationId xmlns:a16="http://schemas.microsoft.com/office/drawing/2014/main" id="{789F0B73-C808-48A7-8EF6-4CDA07D7B578}"/>
              </a:ext>
            </a:extLst>
          </p:cNvPr>
          <p:cNvSpPr/>
          <p:nvPr/>
        </p:nvSpPr>
        <p:spPr>
          <a:xfrm>
            <a:off x="6322247" y="188331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2" name="Oval 171">
            <a:extLst>
              <a:ext uri="{FF2B5EF4-FFF2-40B4-BE49-F238E27FC236}">
                <a16:creationId xmlns:a16="http://schemas.microsoft.com/office/drawing/2014/main" id="{A0AD8507-0AC1-42EB-BE12-7F6CCD20D077}"/>
              </a:ext>
            </a:extLst>
          </p:cNvPr>
          <p:cNvSpPr/>
          <p:nvPr/>
        </p:nvSpPr>
        <p:spPr>
          <a:xfrm>
            <a:off x="5799376" y="123979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3" name="Oval 172">
            <a:extLst>
              <a:ext uri="{FF2B5EF4-FFF2-40B4-BE49-F238E27FC236}">
                <a16:creationId xmlns:a16="http://schemas.microsoft.com/office/drawing/2014/main" id="{103655AE-C3E0-4AA1-9BFA-1CB77F3C5148}"/>
              </a:ext>
            </a:extLst>
          </p:cNvPr>
          <p:cNvSpPr/>
          <p:nvPr/>
        </p:nvSpPr>
        <p:spPr>
          <a:xfrm>
            <a:off x="6149311" y="99604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4" name="Oval 173">
            <a:extLst>
              <a:ext uri="{FF2B5EF4-FFF2-40B4-BE49-F238E27FC236}">
                <a16:creationId xmlns:a16="http://schemas.microsoft.com/office/drawing/2014/main" id="{C4CDBD37-706B-49A7-BE1C-DB6B9E39D760}"/>
              </a:ext>
            </a:extLst>
          </p:cNvPr>
          <p:cNvSpPr/>
          <p:nvPr/>
        </p:nvSpPr>
        <p:spPr>
          <a:xfrm>
            <a:off x="6151211" y="146463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5" name="Oval 174">
            <a:extLst>
              <a:ext uri="{FF2B5EF4-FFF2-40B4-BE49-F238E27FC236}">
                <a16:creationId xmlns:a16="http://schemas.microsoft.com/office/drawing/2014/main" id="{15FC03A8-293F-423E-B4CB-74EA384C0AF0}"/>
              </a:ext>
            </a:extLst>
          </p:cNvPr>
          <p:cNvSpPr/>
          <p:nvPr/>
        </p:nvSpPr>
        <p:spPr>
          <a:xfrm>
            <a:off x="6010836" y="120145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6" name="Oval 175">
            <a:extLst>
              <a:ext uri="{FF2B5EF4-FFF2-40B4-BE49-F238E27FC236}">
                <a16:creationId xmlns:a16="http://schemas.microsoft.com/office/drawing/2014/main" id="{D0631C8D-5FD5-4562-9D92-970913F39B7E}"/>
              </a:ext>
            </a:extLst>
          </p:cNvPr>
          <p:cNvSpPr/>
          <p:nvPr/>
        </p:nvSpPr>
        <p:spPr>
          <a:xfrm>
            <a:off x="6208500" y="1581805"/>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7" name="Oval 176">
            <a:extLst>
              <a:ext uri="{FF2B5EF4-FFF2-40B4-BE49-F238E27FC236}">
                <a16:creationId xmlns:a16="http://schemas.microsoft.com/office/drawing/2014/main" id="{A968DE79-31D4-404F-951D-71E47A4C560E}"/>
              </a:ext>
            </a:extLst>
          </p:cNvPr>
          <p:cNvSpPr/>
          <p:nvPr/>
        </p:nvSpPr>
        <p:spPr>
          <a:xfrm>
            <a:off x="6068126" y="131862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8" name="Oval 177">
            <a:extLst>
              <a:ext uri="{FF2B5EF4-FFF2-40B4-BE49-F238E27FC236}">
                <a16:creationId xmlns:a16="http://schemas.microsoft.com/office/drawing/2014/main" id="{EF07B8C1-94C4-49F9-AEB3-C2448C8CAA49}"/>
              </a:ext>
            </a:extLst>
          </p:cNvPr>
          <p:cNvSpPr/>
          <p:nvPr/>
        </p:nvSpPr>
        <p:spPr>
          <a:xfrm>
            <a:off x="6022454" y="192797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79" name="Oval 178">
            <a:extLst>
              <a:ext uri="{FF2B5EF4-FFF2-40B4-BE49-F238E27FC236}">
                <a16:creationId xmlns:a16="http://schemas.microsoft.com/office/drawing/2014/main" id="{21E14CBA-A7CD-478B-8D63-DDAE3D2F2DB0}"/>
              </a:ext>
            </a:extLst>
          </p:cNvPr>
          <p:cNvSpPr/>
          <p:nvPr/>
        </p:nvSpPr>
        <p:spPr>
          <a:xfrm>
            <a:off x="5908707" y="162645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0" name="Oval 179">
            <a:extLst>
              <a:ext uri="{FF2B5EF4-FFF2-40B4-BE49-F238E27FC236}">
                <a16:creationId xmlns:a16="http://schemas.microsoft.com/office/drawing/2014/main" id="{65001462-296B-424B-8719-618FC25158D8}"/>
              </a:ext>
            </a:extLst>
          </p:cNvPr>
          <p:cNvSpPr/>
          <p:nvPr/>
        </p:nvSpPr>
        <p:spPr>
          <a:xfrm>
            <a:off x="5526155" y="199967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1" name="Oval 180">
            <a:extLst>
              <a:ext uri="{FF2B5EF4-FFF2-40B4-BE49-F238E27FC236}">
                <a16:creationId xmlns:a16="http://schemas.microsoft.com/office/drawing/2014/main" id="{55D4F1EF-13C6-4B19-9A54-362D166E848C}"/>
              </a:ext>
            </a:extLst>
          </p:cNvPr>
          <p:cNvSpPr/>
          <p:nvPr/>
        </p:nvSpPr>
        <p:spPr>
          <a:xfrm>
            <a:off x="5815547" y="145860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2" name="Oval 181">
            <a:extLst>
              <a:ext uri="{FF2B5EF4-FFF2-40B4-BE49-F238E27FC236}">
                <a16:creationId xmlns:a16="http://schemas.microsoft.com/office/drawing/2014/main" id="{7C0FE322-3A2F-45D9-92A8-BC8082F442F5}"/>
              </a:ext>
            </a:extLst>
          </p:cNvPr>
          <p:cNvSpPr/>
          <p:nvPr/>
        </p:nvSpPr>
        <p:spPr>
          <a:xfrm>
            <a:off x="5848109" y="208270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3" name="Oval 182">
            <a:extLst>
              <a:ext uri="{FF2B5EF4-FFF2-40B4-BE49-F238E27FC236}">
                <a16:creationId xmlns:a16="http://schemas.microsoft.com/office/drawing/2014/main" id="{03D8F955-E563-4560-822D-F62478E68807}"/>
              </a:ext>
            </a:extLst>
          </p:cNvPr>
          <p:cNvSpPr/>
          <p:nvPr/>
        </p:nvSpPr>
        <p:spPr>
          <a:xfrm>
            <a:off x="5325238" y="143917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4" name="Oval 183">
            <a:extLst>
              <a:ext uri="{FF2B5EF4-FFF2-40B4-BE49-F238E27FC236}">
                <a16:creationId xmlns:a16="http://schemas.microsoft.com/office/drawing/2014/main" id="{FB592939-A31A-4761-A217-09AB3221EF7D}"/>
              </a:ext>
            </a:extLst>
          </p:cNvPr>
          <p:cNvSpPr/>
          <p:nvPr/>
        </p:nvSpPr>
        <p:spPr>
          <a:xfrm>
            <a:off x="5675173" y="1195429"/>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5" name="Oval 184">
            <a:extLst>
              <a:ext uri="{FF2B5EF4-FFF2-40B4-BE49-F238E27FC236}">
                <a16:creationId xmlns:a16="http://schemas.microsoft.com/office/drawing/2014/main" id="{6D249A8A-F1D7-4929-A298-38B69266AD17}"/>
              </a:ext>
            </a:extLst>
          </p:cNvPr>
          <p:cNvSpPr/>
          <p:nvPr/>
        </p:nvSpPr>
        <p:spPr>
          <a:xfrm>
            <a:off x="5677073" y="166401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6" name="Oval 185">
            <a:extLst>
              <a:ext uri="{FF2B5EF4-FFF2-40B4-BE49-F238E27FC236}">
                <a16:creationId xmlns:a16="http://schemas.microsoft.com/office/drawing/2014/main" id="{340D8EFC-1B24-4332-8D15-2B5C5EFBBBE7}"/>
              </a:ext>
            </a:extLst>
          </p:cNvPr>
          <p:cNvSpPr/>
          <p:nvPr/>
        </p:nvSpPr>
        <p:spPr>
          <a:xfrm>
            <a:off x="5536698" y="140083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7" name="Oval 186">
            <a:extLst>
              <a:ext uri="{FF2B5EF4-FFF2-40B4-BE49-F238E27FC236}">
                <a16:creationId xmlns:a16="http://schemas.microsoft.com/office/drawing/2014/main" id="{C181F923-EDE4-45E3-A010-2597E0A9AD34}"/>
              </a:ext>
            </a:extLst>
          </p:cNvPr>
          <p:cNvSpPr/>
          <p:nvPr/>
        </p:nvSpPr>
        <p:spPr>
          <a:xfrm>
            <a:off x="5734362" y="178118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8" name="Oval 187">
            <a:extLst>
              <a:ext uri="{FF2B5EF4-FFF2-40B4-BE49-F238E27FC236}">
                <a16:creationId xmlns:a16="http://schemas.microsoft.com/office/drawing/2014/main" id="{9EB67F25-1473-43A1-83A0-D544086F8229}"/>
              </a:ext>
            </a:extLst>
          </p:cNvPr>
          <p:cNvSpPr/>
          <p:nvPr/>
        </p:nvSpPr>
        <p:spPr>
          <a:xfrm>
            <a:off x="5593988" y="151801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89" name="Oval 188">
            <a:extLst>
              <a:ext uri="{FF2B5EF4-FFF2-40B4-BE49-F238E27FC236}">
                <a16:creationId xmlns:a16="http://schemas.microsoft.com/office/drawing/2014/main" id="{31A39419-9E55-4822-A836-18BAB0C63A56}"/>
              </a:ext>
            </a:extLst>
          </p:cNvPr>
          <p:cNvSpPr/>
          <p:nvPr/>
        </p:nvSpPr>
        <p:spPr>
          <a:xfrm>
            <a:off x="5548316" y="212735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0" name="Oval 189">
            <a:extLst>
              <a:ext uri="{FF2B5EF4-FFF2-40B4-BE49-F238E27FC236}">
                <a16:creationId xmlns:a16="http://schemas.microsoft.com/office/drawing/2014/main" id="{249476FA-198C-4A2F-839B-7899E507D2EF}"/>
              </a:ext>
            </a:extLst>
          </p:cNvPr>
          <p:cNvSpPr/>
          <p:nvPr/>
        </p:nvSpPr>
        <p:spPr>
          <a:xfrm>
            <a:off x="5434569" y="182584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1" name="Oval 190">
            <a:extLst>
              <a:ext uri="{FF2B5EF4-FFF2-40B4-BE49-F238E27FC236}">
                <a16:creationId xmlns:a16="http://schemas.microsoft.com/office/drawing/2014/main" id="{758AD0D5-196F-41E3-A9DC-3B4A6E6EB8A8}"/>
              </a:ext>
            </a:extLst>
          </p:cNvPr>
          <p:cNvSpPr/>
          <p:nvPr/>
        </p:nvSpPr>
        <p:spPr>
          <a:xfrm>
            <a:off x="6233878" y="454605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2" name="Oval 191">
            <a:extLst>
              <a:ext uri="{FF2B5EF4-FFF2-40B4-BE49-F238E27FC236}">
                <a16:creationId xmlns:a16="http://schemas.microsoft.com/office/drawing/2014/main" id="{6304D03C-D4CC-4A6F-8095-D358BEBFFD18}"/>
              </a:ext>
            </a:extLst>
          </p:cNvPr>
          <p:cNvSpPr/>
          <p:nvPr/>
        </p:nvSpPr>
        <p:spPr>
          <a:xfrm>
            <a:off x="5743569" y="4526620"/>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3" name="Oval 192">
            <a:extLst>
              <a:ext uri="{FF2B5EF4-FFF2-40B4-BE49-F238E27FC236}">
                <a16:creationId xmlns:a16="http://schemas.microsoft.com/office/drawing/2014/main" id="{B4631145-9C14-4557-B3D7-190D7E82F3D8}"/>
              </a:ext>
            </a:extLst>
          </p:cNvPr>
          <p:cNvSpPr/>
          <p:nvPr/>
        </p:nvSpPr>
        <p:spPr>
          <a:xfrm>
            <a:off x="6093504" y="428287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4" name="Oval 193">
            <a:extLst>
              <a:ext uri="{FF2B5EF4-FFF2-40B4-BE49-F238E27FC236}">
                <a16:creationId xmlns:a16="http://schemas.microsoft.com/office/drawing/2014/main" id="{63AA7823-2539-4A53-A7A2-D27BEA027349}"/>
              </a:ext>
            </a:extLst>
          </p:cNvPr>
          <p:cNvSpPr/>
          <p:nvPr/>
        </p:nvSpPr>
        <p:spPr>
          <a:xfrm>
            <a:off x="5955029" y="448828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5" name="Oval 194">
            <a:extLst>
              <a:ext uri="{FF2B5EF4-FFF2-40B4-BE49-F238E27FC236}">
                <a16:creationId xmlns:a16="http://schemas.microsoft.com/office/drawing/2014/main" id="{258C9BEA-89FA-46C0-8877-E8F229A6C84E}"/>
              </a:ext>
            </a:extLst>
          </p:cNvPr>
          <p:cNvSpPr/>
          <p:nvPr/>
        </p:nvSpPr>
        <p:spPr>
          <a:xfrm>
            <a:off x="7076422" y="441183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6" name="Oval 195">
            <a:extLst>
              <a:ext uri="{FF2B5EF4-FFF2-40B4-BE49-F238E27FC236}">
                <a16:creationId xmlns:a16="http://schemas.microsoft.com/office/drawing/2014/main" id="{6DFC3912-06CF-4D68-85FA-FF6BF75C6040}"/>
              </a:ext>
            </a:extLst>
          </p:cNvPr>
          <p:cNvSpPr/>
          <p:nvPr/>
        </p:nvSpPr>
        <p:spPr>
          <a:xfrm>
            <a:off x="6586113" y="4392408"/>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7" name="Oval 196">
            <a:extLst>
              <a:ext uri="{FF2B5EF4-FFF2-40B4-BE49-F238E27FC236}">
                <a16:creationId xmlns:a16="http://schemas.microsoft.com/office/drawing/2014/main" id="{BF08C4D3-F1B5-4ED0-A395-99EC491B66A9}"/>
              </a:ext>
            </a:extLst>
          </p:cNvPr>
          <p:cNvSpPr/>
          <p:nvPr/>
        </p:nvSpPr>
        <p:spPr>
          <a:xfrm>
            <a:off x="6936048" y="414866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8" name="Oval 197">
            <a:extLst>
              <a:ext uri="{FF2B5EF4-FFF2-40B4-BE49-F238E27FC236}">
                <a16:creationId xmlns:a16="http://schemas.microsoft.com/office/drawing/2014/main" id="{1B66C898-23D8-457E-9808-967C3BFBCB34}"/>
              </a:ext>
            </a:extLst>
          </p:cNvPr>
          <p:cNvSpPr/>
          <p:nvPr/>
        </p:nvSpPr>
        <p:spPr>
          <a:xfrm>
            <a:off x="6797573" y="4354069"/>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199" name="Oval 198">
            <a:extLst>
              <a:ext uri="{FF2B5EF4-FFF2-40B4-BE49-F238E27FC236}">
                <a16:creationId xmlns:a16="http://schemas.microsoft.com/office/drawing/2014/main" id="{8210C3B9-2BDE-4FAA-82EB-D2E2B48B2013}"/>
              </a:ext>
            </a:extLst>
          </p:cNvPr>
          <p:cNvSpPr/>
          <p:nvPr/>
        </p:nvSpPr>
        <p:spPr>
          <a:xfrm>
            <a:off x="6854863" y="447124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0" name="Oval 199">
            <a:extLst>
              <a:ext uri="{FF2B5EF4-FFF2-40B4-BE49-F238E27FC236}">
                <a16:creationId xmlns:a16="http://schemas.microsoft.com/office/drawing/2014/main" id="{D888A8D6-1363-4FCE-BA34-E2D58E981F6D}"/>
              </a:ext>
            </a:extLst>
          </p:cNvPr>
          <p:cNvSpPr/>
          <p:nvPr/>
        </p:nvSpPr>
        <p:spPr>
          <a:xfrm>
            <a:off x="6111975" y="459179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1" name="Oval 200">
            <a:extLst>
              <a:ext uri="{FF2B5EF4-FFF2-40B4-BE49-F238E27FC236}">
                <a16:creationId xmlns:a16="http://schemas.microsoft.com/office/drawing/2014/main" id="{012E8C65-1B6E-4C9A-A5B4-4EEFFE5C706E}"/>
              </a:ext>
            </a:extLst>
          </p:cNvPr>
          <p:cNvSpPr/>
          <p:nvPr/>
        </p:nvSpPr>
        <p:spPr>
          <a:xfrm>
            <a:off x="6461910" y="434804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2" name="Oval 201">
            <a:extLst>
              <a:ext uri="{FF2B5EF4-FFF2-40B4-BE49-F238E27FC236}">
                <a16:creationId xmlns:a16="http://schemas.microsoft.com/office/drawing/2014/main" id="{5DDF0A37-0C99-4B94-8837-B95C98099EE8}"/>
              </a:ext>
            </a:extLst>
          </p:cNvPr>
          <p:cNvSpPr/>
          <p:nvPr/>
        </p:nvSpPr>
        <p:spPr>
          <a:xfrm>
            <a:off x="6323435" y="4553452"/>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3" name="Oval 202">
            <a:extLst>
              <a:ext uri="{FF2B5EF4-FFF2-40B4-BE49-F238E27FC236}">
                <a16:creationId xmlns:a16="http://schemas.microsoft.com/office/drawing/2014/main" id="{41579DEE-5AE3-4978-8C93-56D23C994645}"/>
              </a:ext>
            </a:extLst>
          </p:cNvPr>
          <p:cNvSpPr/>
          <p:nvPr/>
        </p:nvSpPr>
        <p:spPr>
          <a:xfrm>
            <a:off x="5532660" y="464237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4" name="Oval 203">
            <a:extLst>
              <a:ext uri="{FF2B5EF4-FFF2-40B4-BE49-F238E27FC236}">
                <a16:creationId xmlns:a16="http://schemas.microsoft.com/office/drawing/2014/main" id="{F5934586-9BEF-46B2-8CE0-0F8F2902BA5C}"/>
              </a:ext>
            </a:extLst>
          </p:cNvPr>
          <p:cNvSpPr/>
          <p:nvPr/>
        </p:nvSpPr>
        <p:spPr>
          <a:xfrm>
            <a:off x="5042351" y="4622943"/>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5" name="Oval 204">
            <a:extLst>
              <a:ext uri="{FF2B5EF4-FFF2-40B4-BE49-F238E27FC236}">
                <a16:creationId xmlns:a16="http://schemas.microsoft.com/office/drawing/2014/main" id="{3F38101B-38FC-4BD1-B87D-AE42B5F81F07}"/>
              </a:ext>
            </a:extLst>
          </p:cNvPr>
          <p:cNvSpPr/>
          <p:nvPr/>
        </p:nvSpPr>
        <p:spPr>
          <a:xfrm>
            <a:off x="5392286" y="437919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6" name="Oval 205">
            <a:extLst>
              <a:ext uri="{FF2B5EF4-FFF2-40B4-BE49-F238E27FC236}">
                <a16:creationId xmlns:a16="http://schemas.microsoft.com/office/drawing/2014/main" id="{48074584-3263-43CF-B097-95ABBCE9B888}"/>
              </a:ext>
            </a:extLst>
          </p:cNvPr>
          <p:cNvSpPr/>
          <p:nvPr/>
        </p:nvSpPr>
        <p:spPr>
          <a:xfrm>
            <a:off x="5253811" y="458460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7" name="Oval 206">
            <a:extLst>
              <a:ext uri="{FF2B5EF4-FFF2-40B4-BE49-F238E27FC236}">
                <a16:creationId xmlns:a16="http://schemas.microsoft.com/office/drawing/2014/main" id="{E43E9EC2-F0D3-4BA2-A896-A064BFBA051B}"/>
              </a:ext>
            </a:extLst>
          </p:cNvPr>
          <p:cNvSpPr/>
          <p:nvPr/>
        </p:nvSpPr>
        <p:spPr>
          <a:xfrm>
            <a:off x="6375204" y="450816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8" name="Oval 207">
            <a:extLst>
              <a:ext uri="{FF2B5EF4-FFF2-40B4-BE49-F238E27FC236}">
                <a16:creationId xmlns:a16="http://schemas.microsoft.com/office/drawing/2014/main" id="{1E345A4B-3778-42B8-B9EC-2431C6F862A4}"/>
              </a:ext>
            </a:extLst>
          </p:cNvPr>
          <p:cNvSpPr/>
          <p:nvPr/>
        </p:nvSpPr>
        <p:spPr>
          <a:xfrm>
            <a:off x="5884895" y="4488731"/>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09" name="Oval 208">
            <a:extLst>
              <a:ext uri="{FF2B5EF4-FFF2-40B4-BE49-F238E27FC236}">
                <a16:creationId xmlns:a16="http://schemas.microsoft.com/office/drawing/2014/main" id="{58F36435-663A-4817-87DD-47853F40DFE1}"/>
              </a:ext>
            </a:extLst>
          </p:cNvPr>
          <p:cNvSpPr/>
          <p:nvPr/>
        </p:nvSpPr>
        <p:spPr>
          <a:xfrm>
            <a:off x="6234830" y="424498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10" name="Oval 209">
            <a:extLst>
              <a:ext uri="{FF2B5EF4-FFF2-40B4-BE49-F238E27FC236}">
                <a16:creationId xmlns:a16="http://schemas.microsoft.com/office/drawing/2014/main" id="{5601D6D3-9C11-488F-8274-911A748FEF73}"/>
              </a:ext>
            </a:extLst>
          </p:cNvPr>
          <p:cNvSpPr/>
          <p:nvPr/>
        </p:nvSpPr>
        <p:spPr>
          <a:xfrm>
            <a:off x="6096355" y="4450392"/>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11" name="Oval 210">
            <a:extLst>
              <a:ext uri="{FF2B5EF4-FFF2-40B4-BE49-F238E27FC236}">
                <a16:creationId xmlns:a16="http://schemas.microsoft.com/office/drawing/2014/main" id="{7340EDCC-2D8C-428D-8764-5E146B2A5A9B}"/>
              </a:ext>
            </a:extLst>
          </p:cNvPr>
          <p:cNvSpPr/>
          <p:nvPr/>
        </p:nvSpPr>
        <p:spPr>
          <a:xfrm>
            <a:off x="6153645" y="4567566"/>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12" name="Oval 211">
            <a:extLst>
              <a:ext uri="{FF2B5EF4-FFF2-40B4-BE49-F238E27FC236}">
                <a16:creationId xmlns:a16="http://schemas.microsoft.com/office/drawing/2014/main" id="{573583B3-BE8D-42ED-9453-9A557FE64EA2}"/>
              </a:ext>
            </a:extLst>
          </p:cNvPr>
          <p:cNvSpPr/>
          <p:nvPr/>
        </p:nvSpPr>
        <p:spPr>
          <a:xfrm>
            <a:off x="5410757" y="4688114"/>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13" name="Oval 212">
            <a:extLst>
              <a:ext uri="{FF2B5EF4-FFF2-40B4-BE49-F238E27FC236}">
                <a16:creationId xmlns:a16="http://schemas.microsoft.com/office/drawing/2014/main" id="{435202AC-3C77-4A83-BE49-E4BA297DEBB7}"/>
              </a:ext>
            </a:extLst>
          </p:cNvPr>
          <p:cNvSpPr/>
          <p:nvPr/>
        </p:nvSpPr>
        <p:spPr>
          <a:xfrm>
            <a:off x="5760692" y="4444367"/>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214" name="Oval 213">
            <a:extLst>
              <a:ext uri="{FF2B5EF4-FFF2-40B4-BE49-F238E27FC236}">
                <a16:creationId xmlns:a16="http://schemas.microsoft.com/office/drawing/2014/main" id="{CA3D57C4-59BF-49DC-981D-80E913340C98}"/>
              </a:ext>
            </a:extLst>
          </p:cNvPr>
          <p:cNvSpPr/>
          <p:nvPr/>
        </p:nvSpPr>
        <p:spPr>
          <a:xfrm>
            <a:off x="5622217" y="4649775"/>
            <a:ext cx="67500" cy="67500"/>
          </a:xfrm>
          <a:prstGeom prst="ellipse">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l"/>
            <a:endParaRPr lang="en-GB" sz="1200" dirty="0" err="1">
              <a:solidFill>
                <a:schemeClr val="tx1"/>
              </a:solidFill>
            </a:endParaRPr>
          </a:p>
        </p:txBody>
      </p:sp>
      <p:sp>
        <p:nvSpPr>
          <p:cNvPr id="4" name="TextBox 3">
            <a:extLst>
              <a:ext uri="{FF2B5EF4-FFF2-40B4-BE49-F238E27FC236}">
                <a16:creationId xmlns:a16="http://schemas.microsoft.com/office/drawing/2014/main" id="{6B6DDB39-6A34-4450-8E82-DB0C16E644AA}"/>
              </a:ext>
            </a:extLst>
          </p:cNvPr>
          <p:cNvSpPr txBox="1"/>
          <p:nvPr/>
        </p:nvSpPr>
        <p:spPr>
          <a:xfrm>
            <a:off x="6814416" y="971524"/>
            <a:ext cx="1741804" cy="1200329"/>
          </a:xfrm>
          <a:custGeom>
            <a:avLst/>
            <a:gdLst>
              <a:gd name="connsiteX0" fmla="*/ 0 w 1741804"/>
              <a:gd name="connsiteY0" fmla="*/ 0 h 1200329"/>
              <a:gd name="connsiteX1" fmla="*/ 545765 w 1741804"/>
              <a:gd name="connsiteY1" fmla="*/ 0 h 1200329"/>
              <a:gd name="connsiteX2" fmla="*/ 1108949 w 1741804"/>
              <a:gd name="connsiteY2" fmla="*/ 0 h 1200329"/>
              <a:gd name="connsiteX3" fmla="*/ 1741804 w 1741804"/>
              <a:gd name="connsiteY3" fmla="*/ 0 h 1200329"/>
              <a:gd name="connsiteX4" fmla="*/ 1741804 w 1741804"/>
              <a:gd name="connsiteY4" fmla="*/ 376103 h 1200329"/>
              <a:gd name="connsiteX5" fmla="*/ 1741804 w 1741804"/>
              <a:gd name="connsiteY5" fmla="*/ 800219 h 1200329"/>
              <a:gd name="connsiteX6" fmla="*/ 1741804 w 1741804"/>
              <a:gd name="connsiteY6" fmla="*/ 1200329 h 1200329"/>
              <a:gd name="connsiteX7" fmla="*/ 1126367 w 1741804"/>
              <a:gd name="connsiteY7" fmla="*/ 1200329 h 1200329"/>
              <a:gd name="connsiteX8" fmla="*/ 598019 w 1741804"/>
              <a:gd name="connsiteY8" fmla="*/ 1200329 h 1200329"/>
              <a:gd name="connsiteX9" fmla="*/ 0 w 1741804"/>
              <a:gd name="connsiteY9" fmla="*/ 1200329 h 1200329"/>
              <a:gd name="connsiteX10" fmla="*/ 0 w 1741804"/>
              <a:gd name="connsiteY10" fmla="*/ 824226 h 1200329"/>
              <a:gd name="connsiteX11" fmla="*/ 0 w 1741804"/>
              <a:gd name="connsiteY11" fmla="*/ 436120 h 1200329"/>
              <a:gd name="connsiteX12" fmla="*/ 0 w 1741804"/>
              <a:gd name="connsiteY12" fmla="*/ 0 h 120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1804" h="1200329" extrusionOk="0">
                <a:moveTo>
                  <a:pt x="0" y="0"/>
                </a:moveTo>
                <a:cubicBezTo>
                  <a:pt x="232623" y="-39241"/>
                  <a:pt x="371849" y="37825"/>
                  <a:pt x="545765" y="0"/>
                </a:cubicBezTo>
                <a:cubicBezTo>
                  <a:pt x="719681" y="-37825"/>
                  <a:pt x="930641" y="21304"/>
                  <a:pt x="1108949" y="0"/>
                </a:cubicBezTo>
                <a:cubicBezTo>
                  <a:pt x="1287257" y="-21304"/>
                  <a:pt x="1477647" y="1736"/>
                  <a:pt x="1741804" y="0"/>
                </a:cubicBezTo>
                <a:cubicBezTo>
                  <a:pt x="1765769" y="142851"/>
                  <a:pt x="1720575" y="251786"/>
                  <a:pt x="1741804" y="376103"/>
                </a:cubicBezTo>
                <a:cubicBezTo>
                  <a:pt x="1763033" y="500420"/>
                  <a:pt x="1720203" y="634584"/>
                  <a:pt x="1741804" y="800219"/>
                </a:cubicBezTo>
                <a:cubicBezTo>
                  <a:pt x="1763405" y="965854"/>
                  <a:pt x="1721963" y="1003472"/>
                  <a:pt x="1741804" y="1200329"/>
                </a:cubicBezTo>
                <a:cubicBezTo>
                  <a:pt x="1513741" y="1228254"/>
                  <a:pt x="1341528" y="1183835"/>
                  <a:pt x="1126367" y="1200329"/>
                </a:cubicBezTo>
                <a:cubicBezTo>
                  <a:pt x="911206" y="1216823"/>
                  <a:pt x="835113" y="1153342"/>
                  <a:pt x="598019" y="1200329"/>
                </a:cubicBezTo>
                <a:cubicBezTo>
                  <a:pt x="360925" y="1247316"/>
                  <a:pt x="228996" y="1163362"/>
                  <a:pt x="0" y="1200329"/>
                </a:cubicBezTo>
                <a:cubicBezTo>
                  <a:pt x="-1498" y="1113534"/>
                  <a:pt x="17421" y="937236"/>
                  <a:pt x="0" y="824226"/>
                </a:cubicBezTo>
                <a:cubicBezTo>
                  <a:pt x="-17421" y="711216"/>
                  <a:pt x="30263" y="569036"/>
                  <a:pt x="0" y="436120"/>
                </a:cubicBezTo>
                <a:cubicBezTo>
                  <a:pt x="-30263" y="303204"/>
                  <a:pt x="22940" y="113901"/>
                  <a:pt x="0" y="0"/>
                </a:cubicBezTo>
                <a:close/>
              </a:path>
            </a:pathLst>
          </a:custGeom>
          <a:noFill/>
          <a:ln>
            <a:solidFill>
              <a:schemeClr val="tx1"/>
            </a:solidFill>
            <a:extLst>
              <a:ext uri="{C807C97D-BFC1-408E-A445-0C87EB9F89A2}">
                <ask:lineSketchStyleProps xmlns:ask="http://schemas.microsoft.com/office/drawing/2018/sketchyshapes" sd="2663363668">
                  <a:prstGeom prst="rect">
                    <a:avLst/>
                  </a:prstGeom>
                  <ask:type>
                    <ask:lineSketchScribble/>
                  </ask:type>
                </ask:lineSketchStyleProps>
              </a:ext>
            </a:extLst>
          </a:ln>
        </p:spPr>
        <p:txBody>
          <a:bodyPr wrap="square" rtlCol="0">
            <a:spAutoFit/>
          </a:bodyPr>
          <a:lstStyle/>
          <a:p>
            <a:r>
              <a:rPr lang="en-US" dirty="0"/>
              <a:t>Combinations within product group- Channel - Country</a:t>
            </a:r>
            <a:endParaRPr lang="en-GB" dirty="0"/>
          </a:p>
        </p:txBody>
      </p:sp>
      <p:pic>
        <p:nvPicPr>
          <p:cNvPr id="215" name="Picture 10" descr="Simulation - Free communications icons">
            <a:extLst>
              <a:ext uri="{FF2B5EF4-FFF2-40B4-BE49-F238E27FC236}">
                <a16:creationId xmlns:a16="http://schemas.microsoft.com/office/drawing/2014/main" id="{9ECB0116-83F5-4BC5-A336-D098212ABFC5}"/>
              </a:ext>
            </a:extLst>
          </p:cNvPr>
          <p:cNvPicPr>
            <a:picLocks noChangeAspect="1" noChangeArrowheads="1"/>
          </p:cNvPicPr>
          <p:nvPr/>
        </p:nvPicPr>
        <p:blipFill>
          <a:blip r:embed="rId7">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73087" y="0"/>
            <a:ext cx="570913" cy="570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80245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D3F0B90-958B-473B-936C-BBE22E69D7A5}"/>
              </a:ext>
            </a:extLst>
          </p:cNvPr>
          <p:cNvPicPr>
            <a:picLocks noChangeAspect="1"/>
          </p:cNvPicPr>
          <p:nvPr/>
        </p:nvPicPr>
        <p:blipFill>
          <a:blip r:embed="rId2"/>
          <a:stretch>
            <a:fillRect/>
          </a:stretch>
        </p:blipFill>
        <p:spPr>
          <a:xfrm>
            <a:off x="1436772" y="2169190"/>
            <a:ext cx="3776662" cy="2424112"/>
          </a:xfrm>
          <a:prstGeom prst="rect">
            <a:avLst/>
          </a:prstGeom>
          <a:scene3d>
            <a:camera prst="orthographicFront">
              <a:rot lat="1500000" lon="2700000" rev="0"/>
            </a:camera>
            <a:lightRig rig="threePt" dir="t"/>
          </a:scene3d>
          <a:sp3d>
            <a:bevelT h="44450"/>
            <a:bevelB h="44450"/>
          </a:sp3d>
        </p:spPr>
      </p:pic>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Sales volume forecasting results</a:t>
            </a:r>
            <a:endParaRPr lang="en-GB" dirty="0"/>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221746"/>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Sales Forecasting Model is able to capture trends within the product groups</a:t>
            </a:r>
          </a:p>
        </p:txBody>
      </p:sp>
      <p:sp>
        <p:nvSpPr>
          <p:cNvPr id="32" name="Rectangle: Rounded Corners 31">
            <a:extLst>
              <a:ext uri="{FF2B5EF4-FFF2-40B4-BE49-F238E27FC236}">
                <a16:creationId xmlns:a16="http://schemas.microsoft.com/office/drawing/2014/main" id="{8BD4C73A-4E0E-4AE9-BF03-7DB8D0588CDA}"/>
              </a:ext>
            </a:extLst>
          </p:cNvPr>
          <p:cNvSpPr/>
          <p:nvPr/>
        </p:nvSpPr>
        <p:spPr>
          <a:xfrm>
            <a:off x="4895884" y="1217232"/>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Product group Wise Average deviation Between Actuals and Forecasts</a:t>
            </a:r>
          </a:p>
        </p:txBody>
      </p:sp>
      <p:pic>
        <p:nvPicPr>
          <p:cNvPr id="12" name="Picture 10" descr="Simulation - Free communications icons">
            <a:extLst>
              <a:ext uri="{FF2B5EF4-FFF2-40B4-BE49-F238E27FC236}">
                <a16:creationId xmlns:a16="http://schemas.microsoft.com/office/drawing/2014/main" id="{0F7D6216-2802-409F-8693-8CD40F4616BC}"/>
              </a:ext>
            </a:extLst>
          </p:cNvPr>
          <p:cNvPicPr>
            <a:picLocks noChangeAspect="1" noChangeArrowheads="1"/>
          </p:cNvPicPr>
          <p:nvPr/>
        </p:nvPicPr>
        <p:blipFill>
          <a:blip r:embed="rId3">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73087" y="0"/>
            <a:ext cx="570913" cy="5709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3277614-2D7E-467C-86F6-DB8CEB0D1558}"/>
              </a:ext>
            </a:extLst>
          </p:cNvPr>
          <p:cNvPicPr>
            <a:picLocks noChangeAspect="1"/>
          </p:cNvPicPr>
          <p:nvPr/>
        </p:nvPicPr>
        <p:blipFill>
          <a:blip r:embed="rId4"/>
          <a:stretch>
            <a:fillRect/>
          </a:stretch>
        </p:blipFill>
        <p:spPr>
          <a:xfrm>
            <a:off x="4895884" y="1820100"/>
            <a:ext cx="3914672" cy="2948601"/>
          </a:xfrm>
          <a:prstGeom prst="rect">
            <a:avLst/>
          </a:prstGeom>
        </p:spPr>
      </p:pic>
      <p:pic>
        <p:nvPicPr>
          <p:cNvPr id="6" name="Picture 5">
            <a:extLst>
              <a:ext uri="{FF2B5EF4-FFF2-40B4-BE49-F238E27FC236}">
                <a16:creationId xmlns:a16="http://schemas.microsoft.com/office/drawing/2014/main" id="{ABC07299-15FE-4DB9-922A-BCAED4891009}"/>
              </a:ext>
            </a:extLst>
          </p:cNvPr>
          <p:cNvPicPr>
            <a:picLocks noChangeAspect="1"/>
          </p:cNvPicPr>
          <p:nvPr/>
        </p:nvPicPr>
        <p:blipFill>
          <a:blip r:embed="rId5"/>
          <a:stretch>
            <a:fillRect/>
          </a:stretch>
        </p:blipFill>
        <p:spPr>
          <a:xfrm>
            <a:off x="500030" y="2395030"/>
            <a:ext cx="3748087" cy="2386012"/>
          </a:xfrm>
          <a:prstGeom prst="rect">
            <a:avLst/>
          </a:prstGeom>
          <a:scene3d>
            <a:camera prst="orthographicFront">
              <a:rot lat="1500000" lon="2700000" rev="0"/>
            </a:camera>
            <a:lightRig rig="threePt" dir="t"/>
          </a:scene3d>
          <a:sp3d>
            <a:bevelT h="44450"/>
            <a:bevelB h="44450"/>
          </a:sp3d>
        </p:spPr>
      </p:pic>
      <p:pic>
        <p:nvPicPr>
          <p:cNvPr id="3" name="Picture 2">
            <a:extLst>
              <a:ext uri="{FF2B5EF4-FFF2-40B4-BE49-F238E27FC236}">
                <a16:creationId xmlns:a16="http://schemas.microsoft.com/office/drawing/2014/main" id="{9E9F435E-1760-4709-95C7-AFC48D36E28F}"/>
              </a:ext>
            </a:extLst>
          </p:cNvPr>
          <p:cNvPicPr>
            <a:picLocks noChangeAspect="1"/>
          </p:cNvPicPr>
          <p:nvPr/>
        </p:nvPicPr>
        <p:blipFill>
          <a:blip r:embed="rId6"/>
          <a:stretch>
            <a:fillRect/>
          </a:stretch>
        </p:blipFill>
        <p:spPr>
          <a:xfrm>
            <a:off x="39839" y="2992280"/>
            <a:ext cx="2911737" cy="1858948"/>
          </a:xfrm>
          <a:prstGeom prst="rect">
            <a:avLst/>
          </a:prstGeom>
          <a:scene3d>
            <a:camera prst="orthographicFront">
              <a:rot lat="1500000" lon="2700000" rev="0"/>
            </a:camera>
            <a:lightRig rig="threePt" dir="t"/>
          </a:scene3d>
          <a:sp3d>
            <a:bevelT h="44450"/>
            <a:bevelB h="44450"/>
          </a:sp3d>
        </p:spPr>
      </p:pic>
    </p:spTree>
    <p:extLst>
      <p:ext uri="{BB962C8B-B14F-4D97-AF65-F5344CB8AC3E}">
        <p14:creationId xmlns:p14="http://schemas.microsoft.com/office/powerpoint/2010/main" val="39413470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Sales volume forecasting feature </a:t>
            </a:r>
            <a:r>
              <a:rPr lang="en-US" dirty="0" err="1"/>
              <a:t>importances</a:t>
            </a:r>
            <a:endParaRPr lang="en-GB" dirty="0"/>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221746"/>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Feature Importance among product groups</a:t>
            </a:r>
          </a:p>
        </p:txBody>
      </p:sp>
      <p:sp>
        <p:nvSpPr>
          <p:cNvPr id="32" name="Rectangle: Rounded Corners 31">
            <a:extLst>
              <a:ext uri="{FF2B5EF4-FFF2-40B4-BE49-F238E27FC236}">
                <a16:creationId xmlns:a16="http://schemas.microsoft.com/office/drawing/2014/main" id="{8BD4C73A-4E0E-4AE9-BF03-7DB8D0588CDA}"/>
              </a:ext>
            </a:extLst>
          </p:cNvPr>
          <p:cNvSpPr/>
          <p:nvPr/>
        </p:nvSpPr>
        <p:spPr>
          <a:xfrm>
            <a:off x="4895884" y="1217232"/>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Feature Importance among Channel &amp; Country</a:t>
            </a:r>
          </a:p>
        </p:txBody>
      </p:sp>
      <p:pic>
        <p:nvPicPr>
          <p:cNvPr id="12" name="Picture 10" descr="Simulation - Free communications icons">
            <a:extLst>
              <a:ext uri="{FF2B5EF4-FFF2-40B4-BE49-F238E27FC236}">
                <a16:creationId xmlns:a16="http://schemas.microsoft.com/office/drawing/2014/main" id="{0F7D6216-2802-409F-8693-8CD40F4616BC}"/>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73087" y="0"/>
            <a:ext cx="570913" cy="5709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53193D1-1CBE-4534-ACC0-757ACBFA3694}"/>
              </a:ext>
            </a:extLst>
          </p:cNvPr>
          <p:cNvPicPr>
            <a:picLocks noChangeAspect="1"/>
          </p:cNvPicPr>
          <p:nvPr/>
        </p:nvPicPr>
        <p:blipFill>
          <a:blip r:embed="rId3"/>
          <a:stretch>
            <a:fillRect/>
          </a:stretch>
        </p:blipFill>
        <p:spPr>
          <a:xfrm>
            <a:off x="609900" y="1832441"/>
            <a:ext cx="3962100" cy="3096020"/>
          </a:xfrm>
          <a:prstGeom prst="rect">
            <a:avLst/>
          </a:prstGeom>
        </p:spPr>
      </p:pic>
      <p:pic>
        <p:nvPicPr>
          <p:cNvPr id="14" name="Picture 13">
            <a:extLst>
              <a:ext uri="{FF2B5EF4-FFF2-40B4-BE49-F238E27FC236}">
                <a16:creationId xmlns:a16="http://schemas.microsoft.com/office/drawing/2014/main" id="{9FF4548A-A10A-40C4-9ADD-20E744C62429}"/>
              </a:ext>
            </a:extLst>
          </p:cNvPr>
          <p:cNvPicPr>
            <a:picLocks noChangeAspect="1"/>
          </p:cNvPicPr>
          <p:nvPr/>
        </p:nvPicPr>
        <p:blipFill>
          <a:blip r:embed="rId4"/>
          <a:stretch>
            <a:fillRect/>
          </a:stretch>
        </p:blipFill>
        <p:spPr>
          <a:xfrm>
            <a:off x="4895884" y="1832441"/>
            <a:ext cx="3914672" cy="3096020"/>
          </a:xfrm>
          <a:prstGeom prst="rect">
            <a:avLst/>
          </a:prstGeom>
        </p:spPr>
      </p:pic>
    </p:spTree>
    <p:extLst>
      <p:ext uri="{BB962C8B-B14F-4D97-AF65-F5344CB8AC3E}">
        <p14:creationId xmlns:p14="http://schemas.microsoft.com/office/powerpoint/2010/main" val="635745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2028FE-FC7A-4899-B507-56DA4CB7B763}"/>
              </a:ext>
            </a:extLst>
          </p:cNvPr>
          <p:cNvSpPr>
            <a:spLocks noGrp="1"/>
          </p:cNvSpPr>
          <p:nvPr>
            <p:ph type="body" sz="quarter" idx="12"/>
          </p:nvPr>
        </p:nvSpPr>
        <p:spPr/>
        <p:txBody>
          <a:bodyPr/>
          <a:lstStyle/>
          <a:p>
            <a:r>
              <a:rPr lang="en-IN" dirty="0"/>
              <a:t>|A</a:t>
            </a:r>
          </a:p>
        </p:txBody>
      </p:sp>
      <p:sp>
        <p:nvSpPr>
          <p:cNvPr id="3" name="Title 2">
            <a:extLst>
              <a:ext uri="{FF2B5EF4-FFF2-40B4-BE49-F238E27FC236}">
                <a16:creationId xmlns:a16="http://schemas.microsoft.com/office/drawing/2014/main" id="{2548CBD9-BE72-4CF0-B14F-11EBDD5687BA}"/>
              </a:ext>
            </a:extLst>
          </p:cNvPr>
          <p:cNvSpPr>
            <a:spLocks noGrp="1"/>
          </p:cNvSpPr>
          <p:nvPr>
            <p:ph type="title"/>
          </p:nvPr>
        </p:nvSpPr>
        <p:spPr>
          <a:xfrm>
            <a:off x="1704739" y="3509296"/>
            <a:ext cx="7163076" cy="653256"/>
          </a:xfrm>
        </p:spPr>
        <p:txBody>
          <a:bodyPr/>
          <a:lstStyle/>
          <a:p>
            <a:r>
              <a:rPr lang="en-IN" sz="4050" dirty="0"/>
              <a:t>THE JOURNEY</a:t>
            </a:r>
          </a:p>
        </p:txBody>
      </p:sp>
      <p:pic>
        <p:nvPicPr>
          <p:cNvPr id="6" name="Picture 2" descr="Objective Icon #296077 - Free Icons Library">
            <a:extLst>
              <a:ext uri="{FF2B5EF4-FFF2-40B4-BE49-F238E27FC236}">
                <a16:creationId xmlns:a16="http://schemas.microsoft.com/office/drawing/2014/main" id="{B7FCF756-8E92-414A-9DD7-E16FAF1E4549}"/>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91631" y="0"/>
            <a:ext cx="552369" cy="552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2782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2028FE-FC7A-4899-B507-56DA4CB7B763}"/>
              </a:ext>
            </a:extLst>
          </p:cNvPr>
          <p:cNvSpPr>
            <a:spLocks noGrp="1"/>
          </p:cNvSpPr>
          <p:nvPr>
            <p:ph type="body" sz="quarter" idx="12"/>
          </p:nvPr>
        </p:nvSpPr>
        <p:spPr/>
        <p:txBody>
          <a:bodyPr/>
          <a:lstStyle/>
          <a:p>
            <a:r>
              <a:rPr lang="en-IN" dirty="0"/>
              <a:t>|E</a:t>
            </a:r>
          </a:p>
        </p:txBody>
      </p:sp>
      <p:sp>
        <p:nvSpPr>
          <p:cNvPr id="3" name="Title 2">
            <a:extLst>
              <a:ext uri="{FF2B5EF4-FFF2-40B4-BE49-F238E27FC236}">
                <a16:creationId xmlns:a16="http://schemas.microsoft.com/office/drawing/2014/main" id="{2548CBD9-BE72-4CF0-B14F-11EBDD5687BA}"/>
              </a:ext>
            </a:extLst>
          </p:cNvPr>
          <p:cNvSpPr>
            <a:spLocks noGrp="1"/>
          </p:cNvSpPr>
          <p:nvPr>
            <p:ph type="title"/>
          </p:nvPr>
        </p:nvSpPr>
        <p:spPr>
          <a:xfrm>
            <a:off x="1530074" y="3452350"/>
            <a:ext cx="7163076" cy="653256"/>
          </a:xfrm>
        </p:spPr>
        <p:txBody>
          <a:bodyPr/>
          <a:lstStyle/>
          <a:p>
            <a:r>
              <a:rPr lang="en-IN" sz="4050" dirty="0"/>
              <a:t>SQLSP OPTIMIZATION</a:t>
            </a:r>
          </a:p>
        </p:txBody>
      </p:sp>
      <p:pic>
        <p:nvPicPr>
          <p:cNvPr id="5" name="Picture 12" descr="Mobile options, options, touch options, touch sensitivity icon - Download  on Iconfinder">
            <a:extLst>
              <a:ext uri="{FF2B5EF4-FFF2-40B4-BE49-F238E27FC236}">
                <a16:creationId xmlns:a16="http://schemas.microsoft.com/office/drawing/2014/main" id="{6165F07F-E8B7-4378-80D3-AB2115099A44}"/>
              </a:ext>
            </a:extLst>
          </p:cNvPr>
          <p:cNvPicPr>
            <a:picLocks noChangeAspect="1" noChangeArrowheads="1"/>
          </p:cNvPicPr>
          <p:nvPr/>
        </p:nvPicPr>
        <p:blipFill>
          <a:blip r:embed="rId2">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413193" y="0"/>
            <a:ext cx="730807" cy="730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927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Optimization Deep Dive</a:t>
            </a:r>
            <a:endParaRPr lang="en-GB" dirty="0"/>
          </a:p>
        </p:txBody>
      </p:sp>
      <p:sp>
        <p:nvSpPr>
          <p:cNvPr id="21" name="Google Shape;109;p17">
            <a:extLst>
              <a:ext uri="{FF2B5EF4-FFF2-40B4-BE49-F238E27FC236}">
                <a16:creationId xmlns:a16="http://schemas.microsoft.com/office/drawing/2014/main" id="{E40D3A11-A456-48EE-A7D8-4CD2480A0F66}"/>
              </a:ext>
            </a:extLst>
          </p:cNvPr>
          <p:cNvSpPr txBox="1">
            <a:spLocks/>
          </p:cNvSpPr>
          <p:nvPr/>
        </p:nvSpPr>
        <p:spPr>
          <a:xfrm>
            <a:off x="217683" y="1608845"/>
            <a:ext cx="4827015" cy="3387296"/>
          </a:xfrm>
          <a:prstGeom prst="rect">
            <a:avLst/>
          </a:prstGeom>
        </p:spPr>
        <p:txBody>
          <a:bodyPr spcFirstLastPara="1" wrap="square" lIns="91425" tIns="91425" rIns="91425" bIns="91425" anchor="t" anchorCtr="0">
            <a:normAutofit fontScale="2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37823" lvl="0" indent="0" algn="ctr" rtl="0">
              <a:spcBef>
                <a:spcPts val="1200"/>
              </a:spcBef>
              <a:spcAft>
                <a:spcPts val="0"/>
              </a:spcAft>
              <a:buSzPct val="100000"/>
              <a:buNone/>
            </a:pPr>
            <a:r>
              <a:rPr lang="en-US" sz="5400" b="1" dirty="0">
                <a:solidFill>
                  <a:schemeClr val="dk1"/>
                </a:solidFill>
              </a:rPr>
              <a:t>Constraints</a:t>
            </a:r>
            <a:r>
              <a:rPr lang="en-US" sz="5400" b="1" dirty="0"/>
              <a:t> </a:t>
            </a:r>
            <a:r>
              <a:rPr lang="en-US" sz="5400" dirty="0"/>
              <a:t>: </a:t>
            </a:r>
          </a:p>
          <a:p>
            <a:pPr marL="136525" indent="0">
              <a:spcBef>
                <a:spcPts val="1200"/>
              </a:spcBef>
              <a:buSzPct val="100000"/>
              <a:buNone/>
            </a:pPr>
            <a:r>
              <a:rPr lang="en-US" sz="5400" b="1" dirty="0"/>
              <a:t>Upper and Lower Bound  on Sales Volume</a:t>
            </a:r>
            <a:r>
              <a:rPr lang="en-US" sz="5400" dirty="0"/>
              <a:t>: </a:t>
            </a:r>
          </a:p>
          <a:p>
            <a:pPr marL="177800" lvl="1" indent="0">
              <a:lnSpc>
                <a:spcPct val="100000"/>
              </a:lnSpc>
              <a:spcBef>
                <a:spcPts val="0"/>
              </a:spcBef>
              <a:spcAft>
                <a:spcPts val="0"/>
              </a:spcAft>
              <a:buNone/>
            </a:pPr>
            <a:r>
              <a:rPr lang="en-US" sz="4800" dirty="0">
                <a:solidFill>
                  <a:srgbClr val="000000"/>
                </a:solidFill>
              </a:rPr>
              <a:t>Lower Bound = Sales Forecasts</a:t>
            </a:r>
          </a:p>
          <a:p>
            <a:pPr marL="177800" lvl="1" indent="0">
              <a:lnSpc>
                <a:spcPct val="100000"/>
              </a:lnSpc>
              <a:spcBef>
                <a:spcPts val="0"/>
              </a:spcBef>
              <a:spcAft>
                <a:spcPts val="0"/>
              </a:spcAft>
              <a:buNone/>
            </a:pPr>
            <a:r>
              <a:rPr lang="en-US" sz="4800" dirty="0">
                <a:solidFill>
                  <a:srgbClr val="000000"/>
                </a:solidFill>
              </a:rPr>
              <a:t>Upper Bound : 1.25*Sales Forecasts</a:t>
            </a:r>
          </a:p>
          <a:p>
            <a:pPr marL="271463" indent="185738">
              <a:lnSpc>
                <a:spcPct val="100000"/>
              </a:lnSpc>
              <a:spcBef>
                <a:spcPts val="0"/>
              </a:spcBef>
              <a:buNone/>
            </a:pPr>
            <a:endParaRPr lang="en-US" sz="5400" b="1" dirty="0"/>
          </a:p>
          <a:p>
            <a:pPr marL="92075" indent="0">
              <a:lnSpc>
                <a:spcPct val="100000"/>
              </a:lnSpc>
              <a:spcBef>
                <a:spcPts val="0"/>
              </a:spcBef>
              <a:buNone/>
            </a:pPr>
            <a:r>
              <a:rPr lang="en-US" sz="5400" b="1" dirty="0"/>
              <a:t> Upper and Lower Bound  for Selling Price </a:t>
            </a:r>
            <a:r>
              <a:rPr lang="en-US" sz="5400" dirty="0"/>
              <a:t>: </a:t>
            </a:r>
          </a:p>
          <a:p>
            <a:pPr marL="177800" lvl="1" indent="0">
              <a:lnSpc>
                <a:spcPct val="100000"/>
              </a:lnSpc>
              <a:spcBef>
                <a:spcPts val="0"/>
              </a:spcBef>
              <a:buNone/>
            </a:pPr>
            <a:r>
              <a:rPr lang="en-US" sz="4800" dirty="0">
                <a:solidFill>
                  <a:srgbClr val="000000"/>
                </a:solidFill>
              </a:rPr>
              <a:t>Lower bound = Minimum Selling Price</a:t>
            </a:r>
          </a:p>
          <a:p>
            <a:pPr marL="177800" lvl="1" indent="0">
              <a:lnSpc>
                <a:spcPct val="100000"/>
              </a:lnSpc>
              <a:spcBef>
                <a:spcPts val="0"/>
              </a:spcBef>
              <a:buNone/>
            </a:pPr>
            <a:r>
              <a:rPr lang="en-US" sz="4800" dirty="0">
                <a:solidFill>
                  <a:srgbClr val="000000"/>
                </a:solidFill>
              </a:rPr>
              <a:t>Upper bound=  Maximum Original Price</a:t>
            </a:r>
          </a:p>
          <a:p>
            <a:pPr marL="177800" lvl="1" indent="0">
              <a:lnSpc>
                <a:spcPct val="100000"/>
              </a:lnSpc>
              <a:spcBef>
                <a:spcPts val="0"/>
              </a:spcBef>
              <a:buNone/>
            </a:pPr>
            <a:endParaRPr lang="en-US" sz="5100" b="1" dirty="0"/>
          </a:p>
          <a:p>
            <a:pPr marL="177800" lvl="1" indent="0">
              <a:lnSpc>
                <a:spcPct val="100000"/>
              </a:lnSpc>
              <a:spcBef>
                <a:spcPts val="0"/>
              </a:spcBef>
              <a:buNone/>
            </a:pPr>
            <a:r>
              <a:rPr lang="en-US" sz="5400" b="1" dirty="0"/>
              <a:t>Equality Relationship between Sales Volume, Current Price, Cost Price and Time</a:t>
            </a:r>
            <a:r>
              <a:rPr lang="en-US" sz="5400" dirty="0"/>
              <a:t> : </a:t>
            </a:r>
          </a:p>
          <a:p>
            <a:pPr marL="177800" lvl="1" indent="0">
              <a:lnSpc>
                <a:spcPct val="100000"/>
              </a:lnSpc>
              <a:spcBef>
                <a:spcPts val="0"/>
              </a:spcBef>
              <a:buNone/>
            </a:pPr>
            <a:r>
              <a:rPr lang="en-US" sz="4800" dirty="0">
                <a:solidFill>
                  <a:srgbClr val="000000"/>
                </a:solidFill>
              </a:rPr>
              <a:t>Sales Volume Price equation Fit </a:t>
            </a:r>
          </a:p>
          <a:p>
            <a:pPr marL="137823" lvl="0" indent="0" algn="l" rtl="0">
              <a:spcBef>
                <a:spcPts val="1200"/>
              </a:spcBef>
              <a:spcAft>
                <a:spcPts val="0"/>
              </a:spcAft>
              <a:buSzPct val="100000"/>
              <a:buNone/>
            </a:pPr>
            <a:r>
              <a:rPr lang="en-US" sz="5400" b="1" dirty="0">
                <a:solidFill>
                  <a:schemeClr val="dk1"/>
                </a:solidFill>
              </a:rPr>
              <a:t>Final equations </a:t>
            </a:r>
            <a:r>
              <a:rPr lang="en-US" sz="5400" dirty="0"/>
              <a:t>: </a:t>
            </a:r>
            <a:r>
              <a:rPr lang="en-US" sz="4800" dirty="0">
                <a:solidFill>
                  <a:srgbClr val="000000"/>
                </a:solidFill>
              </a:rPr>
              <a:t>Maximum Gross Profit and Sales</a:t>
            </a:r>
            <a:br>
              <a:rPr lang="en-US" sz="5400" dirty="0"/>
            </a:br>
            <a:endParaRPr lang="en-US" sz="4400" dirty="0"/>
          </a:p>
          <a:p>
            <a:pPr marL="137823" lvl="0" indent="0" algn="l" rtl="0">
              <a:spcBef>
                <a:spcPts val="0"/>
              </a:spcBef>
              <a:spcAft>
                <a:spcPts val="0"/>
              </a:spcAft>
              <a:buClr>
                <a:srgbClr val="000000"/>
              </a:buClr>
              <a:buSzPct val="100000"/>
              <a:buNone/>
            </a:pPr>
            <a:r>
              <a:rPr lang="en-US" sz="5600" b="1" dirty="0">
                <a:solidFill>
                  <a:schemeClr val="dk1"/>
                </a:solidFill>
              </a:rPr>
              <a:t>Recommendation for price change schedule : </a:t>
            </a:r>
          </a:p>
          <a:p>
            <a:pPr marL="137823" lvl="0" indent="0" algn="l" rtl="0">
              <a:spcBef>
                <a:spcPts val="0"/>
              </a:spcBef>
              <a:spcAft>
                <a:spcPts val="0"/>
              </a:spcAft>
              <a:buClr>
                <a:srgbClr val="000000"/>
              </a:buClr>
              <a:buSzPct val="100000"/>
              <a:buNone/>
            </a:pPr>
            <a:r>
              <a:rPr lang="en-US" sz="4800" dirty="0">
                <a:solidFill>
                  <a:srgbClr val="000000"/>
                </a:solidFill>
              </a:rPr>
              <a:t>Based on the above algorithm, we can get the prices and forecast for each week or each month. </a:t>
            </a:r>
          </a:p>
          <a:p>
            <a:pPr marL="137823" lvl="0" indent="0" algn="l" rtl="0">
              <a:spcBef>
                <a:spcPts val="0"/>
              </a:spcBef>
              <a:spcAft>
                <a:spcPts val="0"/>
              </a:spcAft>
              <a:buClr>
                <a:srgbClr val="000000"/>
              </a:buClr>
              <a:buSzPct val="100000"/>
              <a:buNone/>
            </a:pPr>
            <a:r>
              <a:rPr lang="en-US" sz="4800" dirty="0">
                <a:solidFill>
                  <a:srgbClr val="000000"/>
                </a:solidFill>
              </a:rPr>
              <a:t>Using the variation in  price change data, we bin prices in sizes of 2-5</a:t>
            </a:r>
            <a:r>
              <a:rPr lang="en-GB" sz="4000" b="0" i="0" dirty="0">
                <a:solidFill>
                  <a:srgbClr val="202124"/>
                </a:solidFill>
                <a:effectLst/>
                <a:latin typeface="arial" panose="020B0604020202020204" pitchFamily="34" charset="0"/>
              </a:rPr>
              <a:t>£</a:t>
            </a:r>
            <a:r>
              <a:rPr lang="en-US" sz="4800" dirty="0">
                <a:solidFill>
                  <a:srgbClr val="000000"/>
                </a:solidFill>
              </a:rPr>
              <a:t>.</a:t>
            </a:r>
          </a:p>
          <a:p>
            <a:pPr marL="137823" lvl="0" indent="0" algn="l" rtl="0">
              <a:spcBef>
                <a:spcPts val="0"/>
              </a:spcBef>
              <a:spcAft>
                <a:spcPts val="0"/>
              </a:spcAft>
              <a:buClr>
                <a:srgbClr val="000000"/>
              </a:buClr>
              <a:buSzPct val="100000"/>
              <a:buNone/>
            </a:pPr>
            <a:r>
              <a:rPr lang="en-US" sz="4800" dirty="0">
                <a:solidFill>
                  <a:srgbClr val="000000"/>
                </a:solidFill>
              </a:rPr>
              <a:t>The Start date and End date is then suggested if the price range changes.</a:t>
            </a:r>
          </a:p>
          <a:p>
            <a:pPr marL="457200" indent="0">
              <a:spcBef>
                <a:spcPts val="1200"/>
              </a:spcBef>
              <a:spcAft>
                <a:spcPts val="1200"/>
              </a:spcAft>
              <a:buFont typeface="Arial" panose="020B0604020202020204" pitchFamily="34" charset="0"/>
              <a:buNone/>
            </a:pPr>
            <a:endParaRPr lang="en-US" sz="1600" dirty="0"/>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221746"/>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Maximum Gross Profit  by simulating Volume sold and Current price</a:t>
            </a:r>
          </a:p>
        </p:txBody>
      </p:sp>
      <p:sp>
        <p:nvSpPr>
          <p:cNvPr id="32" name="Rectangle: Rounded Corners 31">
            <a:extLst>
              <a:ext uri="{FF2B5EF4-FFF2-40B4-BE49-F238E27FC236}">
                <a16:creationId xmlns:a16="http://schemas.microsoft.com/office/drawing/2014/main" id="{8BD4C73A-4E0E-4AE9-BF03-7DB8D0588CDA}"/>
              </a:ext>
            </a:extLst>
          </p:cNvPr>
          <p:cNvSpPr/>
          <p:nvPr/>
        </p:nvSpPr>
        <p:spPr>
          <a:xfrm>
            <a:off x="4895884" y="1217232"/>
            <a:ext cx="3914672"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Goodness of Fit</a:t>
            </a:r>
          </a:p>
        </p:txBody>
      </p:sp>
      <p:sp>
        <p:nvSpPr>
          <p:cNvPr id="34" name="Rectangle 33">
            <a:extLst>
              <a:ext uri="{FF2B5EF4-FFF2-40B4-BE49-F238E27FC236}">
                <a16:creationId xmlns:a16="http://schemas.microsoft.com/office/drawing/2014/main" id="{B46B6717-34F7-4CB5-B636-1C6BFA9A36FC}"/>
              </a:ext>
            </a:extLst>
          </p:cNvPr>
          <p:cNvSpPr/>
          <p:nvPr/>
        </p:nvSpPr>
        <p:spPr>
          <a:xfrm>
            <a:off x="4974346" y="1743559"/>
            <a:ext cx="3800984" cy="320267"/>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solidFill>
                  <a:schemeClr val="tx1"/>
                </a:solidFill>
              </a:rPr>
              <a:t>Sequential Linear Squares Programming – SLSQP Heuristics</a:t>
            </a:r>
            <a:endParaRPr lang="en-GB" sz="1200" b="1" dirty="0" err="1">
              <a:solidFill>
                <a:schemeClr val="tx1"/>
              </a:solidFill>
            </a:endParaRPr>
          </a:p>
        </p:txBody>
      </p:sp>
      <p:pic>
        <p:nvPicPr>
          <p:cNvPr id="14" name="Picture 12" descr="Mobile options, options, touch options, touch sensitivity icon - Download  on Iconfinder">
            <a:extLst>
              <a:ext uri="{FF2B5EF4-FFF2-40B4-BE49-F238E27FC236}">
                <a16:creationId xmlns:a16="http://schemas.microsoft.com/office/drawing/2014/main" id="{0AFC9CDE-9FF4-4607-B6B9-A0382A4980AC}"/>
              </a:ext>
            </a:extLst>
          </p:cNvPr>
          <p:cNvPicPr>
            <a:picLocks noChangeAspect="1" noChangeArrowheads="1"/>
          </p:cNvPicPr>
          <p:nvPr/>
        </p:nvPicPr>
        <p:blipFill>
          <a:blip r:embed="rId3">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413193" y="0"/>
            <a:ext cx="730807" cy="73080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60C27F3F-529D-4B8A-A649-2DA89D4132B2}"/>
              </a:ext>
            </a:extLst>
          </p:cNvPr>
          <p:cNvPicPr>
            <a:picLocks noChangeAspect="1"/>
          </p:cNvPicPr>
          <p:nvPr/>
        </p:nvPicPr>
        <p:blipFill>
          <a:blip r:embed="rId4"/>
          <a:stretch>
            <a:fillRect/>
          </a:stretch>
        </p:blipFill>
        <p:spPr>
          <a:xfrm>
            <a:off x="4974346" y="2140753"/>
            <a:ext cx="3800984" cy="2855388"/>
          </a:xfrm>
          <a:prstGeom prst="rect">
            <a:avLst/>
          </a:prstGeom>
        </p:spPr>
      </p:pic>
      <p:sp>
        <p:nvSpPr>
          <p:cNvPr id="20" name="Rectangle: Rounded Corners 19">
            <a:extLst>
              <a:ext uri="{FF2B5EF4-FFF2-40B4-BE49-F238E27FC236}">
                <a16:creationId xmlns:a16="http://schemas.microsoft.com/office/drawing/2014/main" id="{300249DD-C372-4BAE-BB10-B5DFB4781994}"/>
              </a:ext>
            </a:extLst>
          </p:cNvPr>
          <p:cNvSpPr/>
          <p:nvPr/>
        </p:nvSpPr>
        <p:spPr>
          <a:xfrm rot="10800000" flipV="1">
            <a:off x="7749155" y="4055157"/>
            <a:ext cx="1150163" cy="77650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 </a:t>
            </a:r>
            <a:r>
              <a:rPr lang="en-US" sz="1100" dirty="0"/>
              <a:t>3.2% Increase in overall revenue post Optimization</a:t>
            </a:r>
            <a:endParaRPr lang="en-GB" sz="1200" dirty="0"/>
          </a:p>
        </p:txBody>
      </p:sp>
      <p:sp>
        <p:nvSpPr>
          <p:cNvPr id="25" name="Rectangle: Rounded Corners 24">
            <a:extLst>
              <a:ext uri="{FF2B5EF4-FFF2-40B4-BE49-F238E27FC236}">
                <a16:creationId xmlns:a16="http://schemas.microsoft.com/office/drawing/2014/main" id="{33F9D98C-F136-46B0-A7A0-4971027F8F45}"/>
              </a:ext>
            </a:extLst>
          </p:cNvPr>
          <p:cNvSpPr/>
          <p:nvPr/>
        </p:nvSpPr>
        <p:spPr>
          <a:xfrm>
            <a:off x="7749155" y="2903829"/>
            <a:ext cx="1150164" cy="776505"/>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100" b="1" dirty="0"/>
              <a:t>281K</a:t>
            </a:r>
            <a:r>
              <a:rPr lang="en-US" sz="1100" dirty="0"/>
              <a:t> Increase in overall revenue post Optimization</a:t>
            </a:r>
            <a:endParaRPr lang="en-GB" sz="1100" dirty="0"/>
          </a:p>
        </p:txBody>
      </p:sp>
      <p:pic>
        <p:nvPicPr>
          <p:cNvPr id="23" name="Graphic 22" descr="Infinity with solid fill">
            <a:extLst>
              <a:ext uri="{FF2B5EF4-FFF2-40B4-BE49-F238E27FC236}">
                <a16:creationId xmlns:a16="http://schemas.microsoft.com/office/drawing/2014/main" id="{58F4D1A4-A14A-4BD7-9D7F-0817577675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65434" y="1590747"/>
            <a:ext cx="634746" cy="634746"/>
          </a:xfrm>
          <a:prstGeom prst="rect">
            <a:avLst/>
          </a:prstGeom>
        </p:spPr>
      </p:pic>
      <p:sp>
        <p:nvSpPr>
          <p:cNvPr id="24" name="Flowchart: Extract 23">
            <a:extLst>
              <a:ext uri="{FF2B5EF4-FFF2-40B4-BE49-F238E27FC236}">
                <a16:creationId xmlns:a16="http://schemas.microsoft.com/office/drawing/2014/main" id="{9489473B-DC35-448E-8C73-DB7F81B7CF5D}"/>
              </a:ext>
            </a:extLst>
          </p:cNvPr>
          <p:cNvSpPr/>
          <p:nvPr/>
        </p:nvSpPr>
        <p:spPr>
          <a:xfrm>
            <a:off x="7749155" y="2979381"/>
            <a:ext cx="193726" cy="127860"/>
          </a:xfrm>
          <a:prstGeom prst="flowChartExtra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29" name="Flowchart: Extract 28">
            <a:extLst>
              <a:ext uri="{FF2B5EF4-FFF2-40B4-BE49-F238E27FC236}">
                <a16:creationId xmlns:a16="http://schemas.microsoft.com/office/drawing/2014/main" id="{6B14DE09-83C0-4ED7-8D4D-40E4BCF4B1BA}"/>
              </a:ext>
            </a:extLst>
          </p:cNvPr>
          <p:cNvSpPr/>
          <p:nvPr/>
        </p:nvSpPr>
        <p:spPr>
          <a:xfrm>
            <a:off x="7749155" y="4108988"/>
            <a:ext cx="193726" cy="127860"/>
          </a:xfrm>
          <a:prstGeom prst="flowChartExtra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34591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180729F-CE51-47E2-938A-FF57742054CA}"/>
              </a:ext>
            </a:extLst>
          </p:cNvPr>
          <p:cNvPicPr>
            <a:picLocks noChangeAspect="1"/>
          </p:cNvPicPr>
          <p:nvPr/>
        </p:nvPicPr>
        <p:blipFill>
          <a:blip r:embed="rId2"/>
          <a:stretch>
            <a:fillRect/>
          </a:stretch>
        </p:blipFill>
        <p:spPr>
          <a:xfrm>
            <a:off x="2577977" y="1641531"/>
            <a:ext cx="6232579" cy="3309118"/>
          </a:xfrm>
          <a:prstGeom prst="rect">
            <a:avLst/>
          </a:prstGeom>
        </p:spPr>
      </p:pic>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Optimization Results </a:t>
            </a:r>
            <a:r>
              <a:rPr lang="en-US" dirty="0">
                <a:sym typeface="Wingdings" panose="05000000000000000000" pitchFamily="2" charset="2"/>
              </a:rPr>
              <a:t> 10516724 - Stores - B</a:t>
            </a:r>
            <a:endParaRPr lang="en-GB" dirty="0"/>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074476"/>
            <a:ext cx="8200656"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Maximum Gross Profit  by simulating Volume sold and Current price</a:t>
            </a:r>
          </a:p>
        </p:txBody>
      </p:sp>
      <p:pic>
        <p:nvPicPr>
          <p:cNvPr id="14" name="Picture 12" descr="Mobile options, options, touch options, touch sensitivity icon - Download  on Iconfinder">
            <a:extLst>
              <a:ext uri="{FF2B5EF4-FFF2-40B4-BE49-F238E27FC236}">
                <a16:creationId xmlns:a16="http://schemas.microsoft.com/office/drawing/2014/main" id="{0AFC9CDE-9FF4-4607-B6B9-A0382A4980AC}"/>
              </a:ext>
            </a:extLst>
          </p:cNvPr>
          <p:cNvPicPr>
            <a:picLocks noChangeAspect="1" noChangeArrowheads="1"/>
          </p:cNvPicPr>
          <p:nvPr/>
        </p:nvPicPr>
        <p:blipFill>
          <a:blip r:embed="rId3">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413193" y="0"/>
            <a:ext cx="730807" cy="73080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7F02CE3E-EF31-4EF7-BEA3-622AF872B65B}"/>
              </a:ext>
            </a:extLst>
          </p:cNvPr>
          <p:cNvSpPr/>
          <p:nvPr/>
        </p:nvSpPr>
        <p:spPr>
          <a:xfrm rot="5400000">
            <a:off x="5557405" y="543538"/>
            <a:ext cx="540688" cy="5735145"/>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cxnSp>
        <p:nvCxnSpPr>
          <p:cNvPr id="23" name="Straight Arrow Connector 22">
            <a:extLst>
              <a:ext uri="{FF2B5EF4-FFF2-40B4-BE49-F238E27FC236}">
                <a16:creationId xmlns:a16="http://schemas.microsoft.com/office/drawing/2014/main" id="{FB34CB4E-20C9-4341-8ECA-6DCF7951E61E}"/>
              </a:ext>
            </a:extLst>
          </p:cNvPr>
          <p:cNvCxnSpPr>
            <a:cxnSpLocks/>
            <a:stCxn id="25" idx="2"/>
          </p:cNvCxnSpPr>
          <p:nvPr/>
        </p:nvCxnSpPr>
        <p:spPr>
          <a:xfrm flipH="1">
            <a:off x="8059119" y="2579118"/>
            <a:ext cx="324683" cy="94674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D9AD2E4C-5306-44AC-999A-406CB4319B58}"/>
              </a:ext>
            </a:extLst>
          </p:cNvPr>
          <p:cNvCxnSpPr>
            <a:cxnSpLocks/>
            <a:stCxn id="25" idx="2"/>
          </p:cNvCxnSpPr>
          <p:nvPr/>
        </p:nvCxnSpPr>
        <p:spPr>
          <a:xfrm flipH="1">
            <a:off x="6904495" y="2579118"/>
            <a:ext cx="1479307" cy="667777"/>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08A016B9-40FE-4751-9FD6-E118E8DB1758}"/>
              </a:ext>
            </a:extLst>
          </p:cNvPr>
          <p:cNvSpPr txBox="1"/>
          <p:nvPr/>
        </p:nvSpPr>
        <p:spPr>
          <a:xfrm>
            <a:off x="7739841" y="2025120"/>
            <a:ext cx="1287922" cy="553998"/>
          </a:xfrm>
          <a:prstGeom prst="rect">
            <a:avLst/>
          </a:prstGeom>
          <a:ln/>
        </p:spPr>
        <p:style>
          <a:lnRef idx="1">
            <a:schemeClr val="accent4"/>
          </a:lnRef>
          <a:fillRef idx="3">
            <a:schemeClr val="accent4"/>
          </a:fillRef>
          <a:effectRef idx="2">
            <a:schemeClr val="accent4"/>
          </a:effectRef>
          <a:fontRef idx="minor">
            <a:schemeClr val="lt1"/>
          </a:fontRef>
        </p:style>
        <p:txBody>
          <a:bodyPr wrap="square" lIns="0" tIns="0" rIns="0" bIns="0" rtlCol="0">
            <a:spAutoFit/>
          </a:bodyPr>
          <a:lstStyle/>
          <a:p>
            <a:r>
              <a:rPr lang="en-IN" sz="1200" b="1" dirty="0">
                <a:solidFill>
                  <a:schemeClr val="tx1"/>
                </a:solidFill>
              </a:rPr>
              <a:t>Change in CSP to 14 from 11</a:t>
            </a:r>
            <a:r>
              <a:rPr lang="en-GB" sz="1200" b="1" dirty="0">
                <a:solidFill>
                  <a:schemeClr val="tx1"/>
                </a:solidFill>
              </a:rPr>
              <a:t> £ increases revenue by 5%</a:t>
            </a:r>
            <a:endParaRPr lang="en-IN" sz="1200" b="1" dirty="0">
              <a:solidFill>
                <a:schemeClr val="tx1"/>
              </a:solidFill>
            </a:endParaRPr>
          </a:p>
        </p:txBody>
      </p:sp>
      <p:pic>
        <p:nvPicPr>
          <p:cNvPr id="39" name="Graphic 38" descr="Badge 1 with solid fill">
            <a:extLst>
              <a:ext uri="{FF2B5EF4-FFF2-40B4-BE49-F238E27FC236}">
                <a16:creationId xmlns:a16="http://schemas.microsoft.com/office/drawing/2014/main" id="{66867F84-3961-4C47-A02A-2ACD1C7FA8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9275" y="1050070"/>
            <a:ext cx="473806" cy="473806"/>
          </a:xfrm>
          <a:prstGeom prst="rect">
            <a:avLst/>
          </a:prstGeom>
        </p:spPr>
      </p:pic>
      <p:pic>
        <p:nvPicPr>
          <p:cNvPr id="41" name="Picture 40">
            <a:extLst>
              <a:ext uri="{FF2B5EF4-FFF2-40B4-BE49-F238E27FC236}">
                <a16:creationId xmlns:a16="http://schemas.microsoft.com/office/drawing/2014/main" id="{D2D7D80D-C411-412B-AEC5-586704E62709}"/>
              </a:ext>
            </a:extLst>
          </p:cNvPr>
          <p:cNvPicPr>
            <a:picLocks noChangeAspect="1"/>
          </p:cNvPicPr>
          <p:nvPr/>
        </p:nvPicPr>
        <p:blipFill>
          <a:blip r:embed="rId6"/>
          <a:stretch>
            <a:fillRect/>
          </a:stretch>
        </p:blipFill>
        <p:spPr>
          <a:xfrm>
            <a:off x="609900" y="1644186"/>
            <a:ext cx="1908000" cy="3309118"/>
          </a:xfrm>
          <a:prstGeom prst="rect">
            <a:avLst/>
          </a:prstGeom>
        </p:spPr>
      </p:pic>
    </p:spTree>
    <p:extLst>
      <p:ext uri="{BB962C8B-B14F-4D97-AF65-F5344CB8AC3E}">
        <p14:creationId xmlns:p14="http://schemas.microsoft.com/office/powerpoint/2010/main" val="1476948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EC52DE-65AE-4D53-B425-8711B9A9F772}"/>
              </a:ext>
            </a:extLst>
          </p:cNvPr>
          <p:cNvPicPr>
            <a:picLocks noChangeAspect="1"/>
          </p:cNvPicPr>
          <p:nvPr/>
        </p:nvPicPr>
        <p:blipFill>
          <a:blip r:embed="rId2"/>
          <a:stretch>
            <a:fillRect/>
          </a:stretch>
        </p:blipFill>
        <p:spPr>
          <a:xfrm>
            <a:off x="2573026" y="1644186"/>
            <a:ext cx="6022095" cy="3309118"/>
          </a:xfrm>
          <a:prstGeom prst="rect">
            <a:avLst/>
          </a:prstGeom>
        </p:spPr>
      </p:pic>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Optimization Results </a:t>
            </a:r>
            <a:r>
              <a:rPr lang="en-US" dirty="0">
                <a:sym typeface="Wingdings" panose="05000000000000000000" pitchFamily="2" charset="2"/>
              </a:rPr>
              <a:t> 1abf90df – Stores- B </a:t>
            </a:r>
            <a:endParaRPr lang="en-GB" dirty="0"/>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074476"/>
            <a:ext cx="8200656"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Maximum Gross Profit  by simulating Volume sold and Current price</a:t>
            </a:r>
          </a:p>
        </p:txBody>
      </p:sp>
      <p:pic>
        <p:nvPicPr>
          <p:cNvPr id="14" name="Picture 12" descr="Mobile options, options, touch options, touch sensitivity icon - Download  on Iconfinder">
            <a:extLst>
              <a:ext uri="{FF2B5EF4-FFF2-40B4-BE49-F238E27FC236}">
                <a16:creationId xmlns:a16="http://schemas.microsoft.com/office/drawing/2014/main" id="{0AFC9CDE-9FF4-4607-B6B9-A0382A4980AC}"/>
              </a:ext>
            </a:extLst>
          </p:cNvPr>
          <p:cNvPicPr>
            <a:picLocks noChangeAspect="1" noChangeArrowheads="1"/>
          </p:cNvPicPr>
          <p:nvPr/>
        </p:nvPicPr>
        <p:blipFill>
          <a:blip r:embed="rId3">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413193" y="0"/>
            <a:ext cx="730807" cy="73080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7F02CE3E-EF31-4EF7-BEA3-622AF872B65B}"/>
              </a:ext>
            </a:extLst>
          </p:cNvPr>
          <p:cNvSpPr/>
          <p:nvPr/>
        </p:nvSpPr>
        <p:spPr>
          <a:xfrm rot="5400000">
            <a:off x="5557405" y="644275"/>
            <a:ext cx="540688" cy="5735145"/>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cxnSp>
        <p:nvCxnSpPr>
          <p:cNvPr id="23" name="Straight Arrow Connector 22">
            <a:extLst>
              <a:ext uri="{FF2B5EF4-FFF2-40B4-BE49-F238E27FC236}">
                <a16:creationId xmlns:a16="http://schemas.microsoft.com/office/drawing/2014/main" id="{FB34CB4E-20C9-4341-8ECA-6DCF7951E61E}"/>
              </a:ext>
            </a:extLst>
          </p:cNvPr>
          <p:cNvCxnSpPr>
            <a:cxnSpLocks/>
            <a:stCxn id="25" idx="2"/>
          </p:cNvCxnSpPr>
          <p:nvPr/>
        </p:nvCxnSpPr>
        <p:spPr>
          <a:xfrm flipH="1">
            <a:off x="8206353" y="2579118"/>
            <a:ext cx="177449" cy="962245"/>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D9AD2E4C-5306-44AC-999A-406CB4319B58}"/>
              </a:ext>
            </a:extLst>
          </p:cNvPr>
          <p:cNvCxnSpPr>
            <a:cxnSpLocks/>
            <a:stCxn id="25" idx="2"/>
          </p:cNvCxnSpPr>
          <p:nvPr/>
        </p:nvCxnSpPr>
        <p:spPr>
          <a:xfrm flipH="1">
            <a:off x="6718515" y="2579118"/>
            <a:ext cx="1665287" cy="80726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08A016B9-40FE-4751-9FD6-E118E8DB1758}"/>
              </a:ext>
            </a:extLst>
          </p:cNvPr>
          <p:cNvSpPr txBox="1"/>
          <p:nvPr/>
        </p:nvSpPr>
        <p:spPr>
          <a:xfrm>
            <a:off x="7739841" y="2025120"/>
            <a:ext cx="1287922" cy="553998"/>
          </a:xfrm>
          <a:prstGeom prst="rect">
            <a:avLst/>
          </a:prstGeom>
          <a:ln/>
        </p:spPr>
        <p:style>
          <a:lnRef idx="1">
            <a:schemeClr val="accent4"/>
          </a:lnRef>
          <a:fillRef idx="3">
            <a:schemeClr val="accent4"/>
          </a:fillRef>
          <a:effectRef idx="2">
            <a:schemeClr val="accent4"/>
          </a:effectRef>
          <a:fontRef idx="minor">
            <a:schemeClr val="lt1"/>
          </a:fontRef>
        </p:style>
        <p:txBody>
          <a:bodyPr wrap="square" lIns="0" tIns="0" rIns="0" bIns="0" rtlCol="0">
            <a:spAutoFit/>
          </a:bodyPr>
          <a:lstStyle/>
          <a:p>
            <a:r>
              <a:rPr lang="en-IN" sz="1200" b="1" dirty="0">
                <a:solidFill>
                  <a:schemeClr val="tx1"/>
                </a:solidFill>
              </a:rPr>
              <a:t>Change in CSP to 23 from 18</a:t>
            </a:r>
            <a:r>
              <a:rPr lang="en-GB" sz="1200" b="1" dirty="0">
                <a:solidFill>
                  <a:schemeClr val="tx1"/>
                </a:solidFill>
              </a:rPr>
              <a:t> £ increases revenue by 6%</a:t>
            </a:r>
            <a:endParaRPr lang="en-IN" sz="1200" b="1" dirty="0">
              <a:solidFill>
                <a:schemeClr val="tx1"/>
              </a:solidFill>
            </a:endParaRPr>
          </a:p>
        </p:txBody>
      </p:sp>
      <p:pic>
        <p:nvPicPr>
          <p:cNvPr id="6" name="Picture 5">
            <a:extLst>
              <a:ext uri="{FF2B5EF4-FFF2-40B4-BE49-F238E27FC236}">
                <a16:creationId xmlns:a16="http://schemas.microsoft.com/office/drawing/2014/main" id="{58F204F5-3A6F-4D2D-808C-40C39BBE2792}"/>
              </a:ext>
            </a:extLst>
          </p:cNvPr>
          <p:cNvPicPr>
            <a:picLocks noChangeAspect="1"/>
          </p:cNvPicPr>
          <p:nvPr/>
        </p:nvPicPr>
        <p:blipFill>
          <a:blip r:embed="rId4"/>
          <a:stretch>
            <a:fillRect/>
          </a:stretch>
        </p:blipFill>
        <p:spPr>
          <a:xfrm>
            <a:off x="603123" y="1644187"/>
            <a:ext cx="1923946" cy="3309118"/>
          </a:xfrm>
          <a:prstGeom prst="rect">
            <a:avLst/>
          </a:prstGeom>
        </p:spPr>
      </p:pic>
      <p:pic>
        <p:nvPicPr>
          <p:cNvPr id="20" name="Graphic 19" descr="Badge with solid fill">
            <a:extLst>
              <a:ext uri="{FF2B5EF4-FFF2-40B4-BE49-F238E27FC236}">
                <a16:creationId xmlns:a16="http://schemas.microsoft.com/office/drawing/2014/main" id="{53534288-149E-4B6E-9AE1-F97C73CE4E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9772" y="1074476"/>
            <a:ext cx="473806" cy="473806"/>
          </a:xfrm>
          <a:prstGeom prst="rect">
            <a:avLst/>
          </a:prstGeom>
        </p:spPr>
      </p:pic>
    </p:spTree>
    <p:extLst>
      <p:ext uri="{BB962C8B-B14F-4D97-AF65-F5344CB8AC3E}">
        <p14:creationId xmlns:p14="http://schemas.microsoft.com/office/powerpoint/2010/main" val="2910624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20C2D5-FAB9-40A1-AF71-058E034E03B0}"/>
              </a:ext>
            </a:extLst>
          </p:cNvPr>
          <p:cNvPicPr>
            <a:picLocks noChangeAspect="1"/>
          </p:cNvPicPr>
          <p:nvPr/>
        </p:nvPicPr>
        <p:blipFill>
          <a:blip r:embed="rId2"/>
          <a:stretch>
            <a:fillRect/>
          </a:stretch>
        </p:blipFill>
        <p:spPr>
          <a:xfrm>
            <a:off x="2606552" y="1644186"/>
            <a:ext cx="6204004" cy="3309118"/>
          </a:xfrm>
          <a:prstGeom prst="rect">
            <a:avLst/>
          </a:prstGeom>
        </p:spPr>
      </p:pic>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p:txBody>
          <a:bodyPr/>
          <a:lstStyle/>
          <a:p>
            <a:r>
              <a:rPr lang="en-US" dirty="0"/>
              <a:t>Optimization Results </a:t>
            </a:r>
            <a:r>
              <a:rPr lang="en-US" dirty="0">
                <a:sym typeface="Wingdings" panose="05000000000000000000" pitchFamily="2" charset="2"/>
              </a:rPr>
              <a:t> 29bfe91e – Stores - B </a:t>
            </a:r>
            <a:endParaRPr lang="en-GB" dirty="0"/>
          </a:p>
        </p:txBody>
      </p:sp>
      <p:sp>
        <p:nvSpPr>
          <p:cNvPr id="31" name="Rectangle: Rounded Corners 30">
            <a:extLst>
              <a:ext uri="{FF2B5EF4-FFF2-40B4-BE49-F238E27FC236}">
                <a16:creationId xmlns:a16="http://schemas.microsoft.com/office/drawing/2014/main" id="{9E34BDC1-3888-4426-BE9E-8611DE6132DA}"/>
              </a:ext>
            </a:extLst>
          </p:cNvPr>
          <p:cNvSpPr/>
          <p:nvPr/>
        </p:nvSpPr>
        <p:spPr>
          <a:xfrm>
            <a:off x="609900" y="1074476"/>
            <a:ext cx="8200656" cy="449400"/>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Maximum Gross Profit  by simulating Volume sold and Current price</a:t>
            </a:r>
          </a:p>
        </p:txBody>
      </p:sp>
      <p:pic>
        <p:nvPicPr>
          <p:cNvPr id="14" name="Picture 12" descr="Mobile options, options, touch options, touch sensitivity icon - Download  on Iconfinder">
            <a:extLst>
              <a:ext uri="{FF2B5EF4-FFF2-40B4-BE49-F238E27FC236}">
                <a16:creationId xmlns:a16="http://schemas.microsoft.com/office/drawing/2014/main" id="{0AFC9CDE-9FF4-4607-B6B9-A0382A4980AC}"/>
              </a:ext>
            </a:extLst>
          </p:cNvPr>
          <p:cNvPicPr>
            <a:picLocks noChangeAspect="1" noChangeArrowheads="1"/>
          </p:cNvPicPr>
          <p:nvPr/>
        </p:nvPicPr>
        <p:blipFill>
          <a:blip r:embed="rId3">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413193" y="0"/>
            <a:ext cx="730807" cy="73080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7F02CE3E-EF31-4EF7-BEA3-622AF872B65B}"/>
              </a:ext>
            </a:extLst>
          </p:cNvPr>
          <p:cNvSpPr/>
          <p:nvPr/>
        </p:nvSpPr>
        <p:spPr>
          <a:xfrm rot="5400000">
            <a:off x="5276580" y="698018"/>
            <a:ext cx="1102337" cy="5735145"/>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cxnSp>
        <p:nvCxnSpPr>
          <p:cNvPr id="23" name="Straight Arrow Connector 22">
            <a:extLst>
              <a:ext uri="{FF2B5EF4-FFF2-40B4-BE49-F238E27FC236}">
                <a16:creationId xmlns:a16="http://schemas.microsoft.com/office/drawing/2014/main" id="{FB34CB4E-20C9-4341-8ECA-6DCF7951E61E}"/>
              </a:ext>
            </a:extLst>
          </p:cNvPr>
          <p:cNvCxnSpPr>
            <a:cxnSpLocks/>
            <a:stCxn id="25" idx="2"/>
          </p:cNvCxnSpPr>
          <p:nvPr/>
        </p:nvCxnSpPr>
        <p:spPr>
          <a:xfrm flipH="1">
            <a:off x="8213698" y="2579118"/>
            <a:ext cx="170104" cy="110233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D9AD2E4C-5306-44AC-999A-406CB4319B58}"/>
              </a:ext>
            </a:extLst>
          </p:cNvPr>
          <p:cNvCxnSpPr>
            <a:cxnSpLocks/>
            <a:stCxn id="25" idx="2"/>
          </p:cNvCxnSpPr>
          <p:nvPr/>
        </p:nvCxnSpPr>
        <p:spPr>
          <a:xfrm flipH="1">
            <a:off x="6830172" y="2579118"/>
            <a:ext cx="1553630" cy="110233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08A016B9-40FE-4751-9FD6-E118E8DB1758}"/>
              </a:ext>
            </a:extLst>
          </p:cNvPr>
          <p:cNvSpPr txBox="1"/>
          <p:nvPr/>
        </p:nvSpPr>
        <p:spPr>
          <a:xfrm>
            <a:off x="7739841" y="2025120"/>
            <a:ext cx="1287922" cy="553998"/>
          </a:xfrm>
          <a:prstGeom prst="rect">
            <a:avLst/>
          </a:prstGeom>
          <a:ln/>
        </p:spPr>
        <p:style>
          <a:lnRef idx="1">
            <a:schemeClr val="accent4"/>
          </a:lnRef>
          <a:fillRef idx="3">
            <a:schemeClr val="accent4"/>
          </a:fillRef>
          <a:effectRef idx="2">
            <a:schemeClr val="accent4"/>
          </a:effectRef>
          <a:fontRef idx="minor">
            <a:schemeClr val="lt1"/>
          </a:fontRef>
        </p:style>
        <p:txBody>
          <a:bodyPr wrap="square" lIns="0" tIns="0" rIns="0" bIns="0" rtlCol="0">
            <a:spAutoFit/>
          </a:bodyPr>
          <a:lstStyle/>
          <a:p>
            <a:r>
              <a:rPr lang="en-US" sz="1200" b="1" dirty="0">
                <a:solidFill>
                  <a:schemeClr val="tx1"/>
                </a:solidFill>
              </a:rPr>
              <a:t>No Improvement. Recommendation is to sell at CSP of 12</a:t>
            </a:r>
            <a:r>
              <a:rPr lang="en-GB" sz="1200" b="1" dirty="0">
                <a:solidFill>
                  <a:schemeClr val="tx1"/>
                </a:solidFill>
              </a:rPr>
              <a:t>£</a:t>
            </a:r>
            <a:endParaRPr lang="en-IN" sz="1200" b="1" dirty="0">
              <a:solidFill>
                <a:schemeClr val="tx1"/>
              </a:solidFill>
            </a:endParaRPr>
          </a:p>
        </p:txBody>
      </p:sp>
      <p:pic>
        <p:nvPicPr>
          <p:cNvPr id="55" name="Graphic 54" descr="Badge 3 with solid fill">
            <a:extLst>
              <a:ext uri="{FF2B5EF4-FFF2-40B4-BE49-F238E27FC236}">
                <a16:creationId xmlns:a16="http://schemas.microsoft.com/office/drawing/2014/main" id="{AE60FD77-9430-42DC-963E-C7AF3CDF6F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900" y="1050070"/>
            <a:ext cx="473806" cy="473806"/>
          </a:xfrm>
          <a:prstGeom prst="rect">
            <a:avLst/>
          </a:prstGeom>
        </p:spPr>
      </p:pic>
      <p:pic>
        <p:nvPicPr>
          <p:cNvPr id="6" name="Picture 5">
            <a:extLst>
              <a:ext uri="{FF2B5EF4-FFF2-40B4-BE49-F238E27FC236}">
                <a16:creationId xmlns:a16="http://schemas.microsoft.com/office/drawing/2014/main" id="{9523D175-DBD0-4A56-9232-7224B67E25B2}"/>
              </a:ext>
            </a:extLst>
          </p:cNvPr>
          <p:cNvPicPr>
            <a:picLocks noChangeAspect="1"/>
          </p:cNvPicPr>
          <p:nvPr/>
        </p:nvPicPr>
        <p:blipFill>
          <a:blip r:embed="rId6"/>
          <a:stretch>
            <a:fillRect/>
          </a:stretch>
        </p:blipFill>
        <p:spPr>
          <a:xfrm>
            <a:off x="609901" y="1644186"/>
            <a:ext cx="1923522" cy="3309118"/>
          </a:xfrm>
          <a:prstGeom prst="rect">
            <a:avLst/>
          </a:prstGeom>
        </p:spPr>
      </p:pic>
    </p:spTree>
    <p:extLst>
      <p:ext uri="{BB962C8B-B14F-4D97-AF65-F5344CB8AC3E}">
        <p14:creationId xmlns:p14="http://schemas.microsoft.com/office/powerpoint/2010/main" val="12660506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B4D3D850-2041-4B7C-AED9-54DA385B14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a:extLst>
              <a:ext uri="{FF2B5EF4-FFF2-40B4-BE49-F238E27FC236}">
                <a16:creationId xmlns:a16="http://schemas.microsoft.com/office/drawing/2014/main" id="{5707F116-8EC0-4822-9067-186AC8C96E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54013" y="987324"/>
            <a:ext cx="3168852" cy="31688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Freeform: Shape 74">
            <a:extLst>
              <a:ext uri="{FF2B5EF4-FFF2-40B4-BE49-F238E27FC236}">
                <a16:creationId xmlns:a16="http://schemas.microsoft.com/office/drawing/2014/main" id="{49F1A7E4-819D-4D21-8E8B-32671A9F98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22939" y="565032"/>
            <a:ext cx="4015376" cy="4015376"/>
          </a:xfrm>
          <a:custGeom>
            <a:avLst/>
            <a:gdLst>
              <a:gd name="connsiteX0" fmla="*/ 690507 w 5353835"/>
              <a:gd name="connsiteY0" fmla="*/ 5273742 h 5353835"/>
              <a:gd name="connsiteX1" fmla="*/ 4938299 w 5353835"/>
              <a:gd name="connsiteY1" fmla="*/ 5273742 h 5353835"/>
              <a:gd name="connsiteX2" fmla="*/ 4858206 w 5353835"/>
              <a:gd name="connsiteY2" fmla="*/ 5353835 h 5353835"/>
              <a:gd name="connsiteX3" fmla="*/ 770600 w 5353835"/>
              <a:gd name="connsiteY3" fmla="*/ 5353835 h 5353835"/>
              <a:gd name="connsiteX4" fmla="*/ 433255 w 5353835"/>
              <a:gd name="connsiteY4" fmla="*/ 80093 h 5353835"/>
              <a:gd name="connsiteX5" fmla="*/ 513348 w 5353835"/>
              <a:gd name="connsiteY5" fmla="*/ 0 h 5353835"/>
              <a:gd name="connsiteX6" fmla="*/ 5353835 w 5353835"/>
              <a:gd name="connsiteY6" fmla="*/ 0 h 5353835"/>
              <a:gd name="connsiteX7" fmla="*/ 5353835 w 5353835"/>
              <a:gd name="connsiteY7" fmla="*/ 4858206 h 5353835"/>
              <a:gd name="connsiteX8" fmla="*/ 5273742 w 5353835"/>
              <a:gd name="connsiteY8" fmla="*/ 4938299 h 5353835"/>
              <a:gd name="connsiteX9" fmla="*/ 5273742 w 5353835"/>
              <a:gd name="connsiteY9" fmla="*/ 80093 h 5353835"/>
              <a:gd name="connsiteX10" fmla="*/ 0 w 5353835"/>
              <a:gd name="connsiteY10" fmla="*/ 513348 h 5353835"/>
              <a:gd name="connsiteX11" fmla="*/ 80093 w 5353835"/>
              <a:gd name="connsiteY11" fmla="*/ 433255 h 5353835"/>
              <a:gd name="connsiteX12" fmla="*/ 80093 w 5353835"/>
              <a:gd name="connsiteY12" fmla="*/ 4663328 h 5353835"/>
              <a:gd name="connsiteX13" fmla="*/ 0 w 5353835"/>
              <a:gd name="connsiteY13" fmla="*/ 4583235 h 535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53835" h="5353835">
                <a:moveTo>
                  <a:pt x="690507" y="5273742"/>
                </a:moveTo>
                <a:lnTo>
                  <a:pt x="4938299" y="5273742"/>
                </a:lnTo>
                <a:lnTo>
                  <a:pt x="4858206" y="5353835"/>
                </a:lnTo>
                <a:lnTo>
                  <a:pt x="770600" y="5353835"/>
                </a:lnTo>
                <a:close/>
                <a:moveTo>
                  <a:pt x="433255" y="80093"/>
                </a:moveTo>
                <a:lnTo>
                  <a:pt x="513348" y="0"/>
                </a:lnTo>
                <a:lnTo>
                  <a:pt x="5353835" y="0"/>
                </a:lnTo>
                <a:lnTo>
                  <a:pt x="5353835" y="4858206"/>
                </a:lnTo>
                <a:lnTo>
                  <a:pt x="5273742" y="4938299"/>
                </a:lnTo>
                <a:lnTo>
                  <a:pt x="5273742" y="80093"/>
                </a:lnTo>
                <a:close/>
                <a:moveTo>
                  <a:pt x="0" y="513348"/>
                </a:moveTo>
                <a:lnTo>
                  <a:pt x="80093" y="433255"/>
                </a:lnTo>
                <a:lnTo>
                  <a:pt x="80093" y="4663328"/>
                </a:lnTo>
                <a:lnTo>
                  <a:pt x="0" y="45832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3" name="Title 2">
            <a:extLst>
              <a:ext uri="{FF2B5EF4-FFF2-40B4-BE49-F238E27FC236}">
                <a16:creationId xmlns:a16="http://schemas.microsoft.com/office/drawing/2014/main" id="{03837DEF-DC25-489B-BF9F-24A2DE297FC4}"/>
              </a:ext>
            </a:extLst>
          </p:cNvPr>
          <p:cNvSpPr>
            <a:spLocks noGrp="1"/>
          </p:cNvSpPr>
          <p:nvPr>
            <p:ph type="title"/>
          </p:nvPr>
        </p:nvSpPr>
        <p:spPr>
          <a:xfrm>
            <a:off x="837525" y="1839394"/>
            <a:ext cx="3186239" cy="1464710"/>
          </a:xfrm>
          <a:noFill/>
        </p:spPr>
        <p:txBody>
          <a:bodyPr vert="horz" lIns="91440" tIns="45720" rIns="91440" bIns="45720" rtlCol="0" anchor="ctr">
            <a:normAutofit/>
          </a:bodyPr>
          <a:lstStyle/>
          <a:p>
            <a:pPr algn="ctr" defTabSz="914400">
              <a:lnSpc>
                <a:spcPct val="90000"/>
              </a:lnSpc>
            </a:pPr>
            <a:r>
              <a:rPr lang="en-US">
                <a:solidFill>
                  <a:srgbClr val="080808"/>
                </a:solidFill>
                <a:latin typeface="+mj-lt"/>
                <a:ea typeface="+mj-ea"/>
                <a:cs typeface="+mj-cs"/>
              </a:rPr>
              <a:t>Any questions ?</a:t>
            </a:r>
            <a:br>
              <a:rPr lang="en-US">
                <a:solidFill>
                  <a:srgbClr val="080808"/>
                </a:solidFill>
                <a:latin typeface="+mj-lt"/>
                <a:ea typeface="+mj-ea"/>
                <a:cs typeface="+mj-cs"/>
              </a:rPr>
            </a:br>
            <a:r>
              <a:rPr lang="en-US">
                <a:solidFill>
                  <a:srgbClr val="080808"/>
                </a:solidFill>
                <a:latin typeface="+mj-lt"/>
                <a:ea typeface="+mj-ea"/>
                <a:cs typeface="+mj-cs"/>
              </a:rPr>
              <a:t>Let’s collaborate </a:t>
            </a:r>
          </a:p>
        </p:txBody>
      </p:sp>
      <p:sp>
        <p:nvSpPr>
          <p:cNvPr id="77" name="Isosceles Triangle 76">
            <a:extLst>
              <a:ext uri="{FF2B5EF4-FFF2-40B4-BE49-F238E27FC236}">
                <a16:creationId xmlns:a16="http://schemas.microsoft.com/office/drawing/2014/main" id="{CB64814D-A361-44E1-8D97-B83E41C8B2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0" y="-2"/>
            <a:ext cx="936142" cy="936142"/>
          </a:xfrm>
          <a:prstGeom prst="triangle">
            <a:avLst>
              <a:gd name="adj" fmla="val 10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78">
            <a:extLst>
              <a:ext uri="{FF2B5EF4-FFF2-40B4-BE49-F238E27FC236}">
                <a16:creationId xmlns:a16="http://schemas.microsoft.com/office/drawing/2014/main" id="{852A6879-032A-4946-9CCA-44D38BEDF5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222624" y="184984"/>
            <a:ext cx="432923" cy="432923"/>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80">
            <a:extLst>
              <a:ext uri="{FF2B5EF4-FFF2-40B4-BE49-F238E27FC236}">
                <a16:creationId xmlns:a16="http://schemas.microsoft.com/office/drawing/2014/main" id="{56AB08D7-F0FB-4965-B730-8B874214C2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094787" y="275396"/>
            <a:ext cx="749372" cy="7493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82">
            <a:extLst>
              <a:ext uri="{FF2B5EF4-FFF2-40B4-BE49-F238E27FC236}">
                <a16:creationId xmlns:a16="http://schemas.microsoft.com/office/drawing/2014/main" id="{148D9297-49FA-43ED-AC6B-E2F153B3A5A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7994390" y="710212"/>
            <a:ext cx="264615" cy="264615"/>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Shape 84">
            <a:extLst>
              <a:ext uri="{FF2B5EF4-FFF2-40B4-BE49-F238E27FC236}">
                <a16:creationId xmlns:a16="http://schemas.microsoft.com/office/drawing/2014/main" id="{77C2D141-F73C-4BF3-B3DF-D3BA74B8BE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45869" y="1012828"/>
            <a:ext cx="3120390" cy="3117843"/>
          </a:xfrm>
          <a:custGeom>
            <a:avLst/>
            <a:gdLst>
              <a:gd name="connsiteX0" fmla="*/ 2080261 w 4160520"/>
              <a:gd name="connsiteY0" fmla="*/ 0 h 4157124"/>
              <a:gd name="connsiteX1" fmla="*/ 4160520 w 4160520"/>
              <a:gd name="connsiteY1" fmla="*/ 2078563 h 4157124"/>
              <a:gd name="connsiteX2" fmla="*/ 2080261 w 4160520"/>
              <a:gd name="connsiteY2" fmla="*/ 4157124 h 4157124"/>
              <a:gd name="connsiteX3" fmla="*/ 0 w 4160520"/>
              <a:gd name="connsiteY3" fmla="*/ 2078563 h 4157124"/>
            </a:gdLst>
            <a:ahLst/>
            <a:cxnLst>
              <a:cxn ang="0">
                <a:pos x="connsiteX0" y="connsiteY0"/>
              </a:cxn>
              <a:cxn ang="0">
                <a:pos x="connsiteX1" y="connsiteY1"/>
              </a:cxn>
              <a:cxn ang="0">
                <a:pos x="connsiteX2" y="connsiteY2"/>
              </a:cxn>
              <a:cxn ang="0">
                <a:pos x="connsiteX3" y="connsiteY3"/>
              </a:cxn>
            </a:cxnLst>
            <a:rect l="l" t="t" r="r" b="b"/>
            <a:pathLst>
              <a:path w="4160520" h="4157124">
                <a:moveTo>
                  <a:pt x="2080261" y="0"/>
                </a:moveTo>
                <a:lnTo>
                  <a:pt x="4160520" y="2078563"/>
                </a:lnTo>
                <a:lnTo>
                  <a:pt x="2080261" y="4157124"/>
                </a:lnTo>
                <a:lnTo>
                  <a:pt x="0" y="2078563"/>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7" name="Freeform: Shape 86">
            <a:extLst>
              <a:ext uri="{FF2B5EF4-FFF2-40B4-BE49-F238E27FC236}">
                <a16:creationId xmlns:a16="http://schemas.microsoft.com/office/drawing/2014/main" id="{DB456AC5-2DFE-4E00-B0CE-30AAA2A3D6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85674" y="0"/>
            <a:ext cx="2998052" cy="2471854"/>
          </a:xfrm>
          <a:custGeom>
            <a:avLst/>
            <a:gdLst>
              <a:gd name="connsiteX0" fmla="*/ 1352836 w 4160520"/>
              <a:gd name="connsiteY0" fmla="*/ 0 h 3430293"/>
              <a:gd name="connsiteX1" fmla="*/ 2807685 w 4160520"/>
              <a:gd name="connsiteY1" fmla="*/ 0 h 3430293"/>
              <a:gd name="connsiteX2" fmla="*/ 4160520 w 4160520"/>
              <a:gd name="connsiteY2" fmla="*/ 1351732 h 3430293"/>
              <a:gd name="connsiteX3" fmla="*/ 2080261 w 4160520"/>
              <a:gd name="connsiteY3" fmla="*/ 3430293 h 3430293"/>
              <a:gd name="connsiteX4" fmla="*/ 0 w 4160520"/>
              <a:gd name="connsiteY4" fmla="*/ 1351732 h 3430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520" h="3430293">
                <a:moveTo>
                  <a:pt x="1352836" y="0"/>
                </a:moveTo>
                <a:lnTo>
                  <a:pt x="2807685" y="0"/>
                </a:lnTo>
                <a:lnTo>
                  <a:pt x="4160520" y="1351732"/>
                </a:lnTo>
                <a:lnTo>
                  <a:pt x="2080261" y="3430293"/>
                </a:lnTo>
                <a:lnTo>
                  <a:pt x="0" y="135173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Graphic 6" descr="Customer review outline">
            <a:extLst>
              <a:ext uri="{FF2B5EF4-FFF2-40B4-BE49-F238E27FC236}">
                <a16:creationId xmlns:a16="http://schemas.microsoft.com/office/drawing/2014/main" id="{62676932-7793-4772-8CE9-CBA00B3987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70149" y="361347"/>
            <a:ext cx="1250315" cy="1250315"/>
          </a:xfrm>
          <a:prstGeom prst="rect">
            <a:avLst/>
          </a:prstGeom>
        </p:spPr>
      </p:pic>
      <p:sp>
        <p:nvSpPr>
          <p:cNvPr id="89" name="Isosceles Triangle 88">
            <a:extLst>
              <a:ext uri="{FF2B5EF4-FFF2-40B4-BE49-F238E27FC236}">
                <a16:creationId xmlns:a16="http://schemas.microsoft.com/office/drawing/2014/main" id="{D3EB41F8-8868-4FC3-8553-94FEE5A8B8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39729" y="4577166"/>
            <a:ext cx="1132671" cy="566334"/>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Freeform: Shape 90">
            <a:extLst>
              <a:ext uri="{FF2B5EF4-FFF2-40B4-BE49-F238E27FC236}">
                <a16:creationId xmlns:a16="http://schemas.microsoft.com/office/drawing/2014/main" id="{39671820-9967-4806-B0A7-4944C2A4A5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085674" y="2671645"/>
            <a:ext cx="2998052" cy="2471854"/>
          </a:xfrm>
          <a:custGeom>
            <a:avLst/>
            <a:gdLst>
              <a:gd name="connsiteX0" fmla="*/ 1352836 w 4160520"/>
              <a:gd name="connsiteY0" fmla="*/ 0 h 3430293"/>
              <a:gd name="connsiteX1" fmla="*/ 2807685 w 4160520"/>
              <a:gd name="connsiteY1" fmla="*/ 0 h 3430293"/>
              <a:gd name="connsiteX2" fmla="*/ 4160520 w 4160520"/>
              <a:gd name="connsiteY2" fmla="*/ 1351732 h 3430293"/>
              <a:gd name="connsiteX3" fmla="*/ 2080261 w 4160520"/>
              <a:gd name="connsiteY3" fmla="*/ 3430293 h 3430293"/>
              <a:gd name="connsiteX4" fmla="*/ 0 w 4160520"/>
              <a:gd name="connsiteY4" fmla="*/ 1351732 h 3430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520" h="3430293">
                <a:moveTo>
                  <a:pt x="1352836" y="0"/>
                </a:moveTo>
                <a:lnTo>
                  <a:pt x="2807685" y="0"/>
                </a:lnTo>
                <a:lnTo>
                  <a:pt x="4160520" y="1351732"/>
                </a:lnTo>
                <a:lnTo>
                  <a:pt x="2080261" y="3430293"/>
                </a:lnTo>
                <a:lnTo>
                  <a:pt x="0" y="135173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242" name="Picture 2" descr="Linkedin Logo PNG, Linkedin Logo Transparent Background - FreeIconsPNG">
            <a:hlinkClick r:id="rId4"/>
            <a:extLst>
              <a:ext uri="{FF2B5EF4-FFF2-40B4-BE49-F238E27FC236}">
                <a16:creationId xmlns:a16="http://schemas.microsoft.com/office/drawing/2014/main" id="{CA586478-1C16-4F47-8BA5-7A27DB4D1D8D}"/>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603348" y="2044920"/>
            <a:ext cx="1198973" cy="1058508"/>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Thought outline">
            <a:extLst>
              <a:ext uri="{FF2B5EF4-FFF2-40B4-BE49-F238E27FC236}">
                <a16:creationId xmlns:a16="http://schemas.microsoft.com/office/drawing/2014/main" id="{3F455DF6-D4AE-4F69-BD8B-347E82644E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0149" y="3555221"/>
            <a:ext cx="1250314" cy="1250314"/>
          </a:xfrm>
          <a:prstGeom prst="rect">
            <a:avLst/>
          </a:prstGeom>
        </p:spPr>
      </p:pic>
    </p:spTree>
    <p:extLst>
      <p:ext uri="{BB962C8B-B14F-4D97-AF65-F5344CB8AC3E}">
        <p14:creationId xmlns:p14="http://schemas.microsoft.com/office/powerpoint/2010/main" val="3117493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5EA1C88-CFE8-4FDD-AC6B-0FFA359FE5D4}"/>
              </a:ext>
            </a:extLst>
          </p:cNvPr>
          <p:cNvSpPr>
            <a:spLocks noGrp="1"/>
          </p:cNvSpPr>
          <p:nvPr>
            <p:ph type="body" sz="half" idx="16"/>
          </p:nvPr>
        </p:nvSpPr>
        <p:spPr>
          <a:xfrm>
            <a:off x="123758" y="255509"/>
            <a:ext cx="8824636" cy="589217"/>
          </a:xfrm>
        </p:spPr>
        <p:txBody>
          <a:bodyPr/>
          <a:lstStyle/>
          <a:p>
            <a:r>
              <a:rPr lang="en-US" sz="2400" dirty="0"/>
              <a:t>Sales Volume Forecasting Journey using 4 key steps</a:t>
            </a:r>
          </a:p>
        </p:txBody>
      </p:sp>
      <p:grpSp>
        <p:nvGrpSpPr>
          <p:cNvPr id="16" name="Group 15">
            <a:extLst>
              <a:ext uri="{FF2B5EF4-FFF2-40B4-BE49-F238E27FC236}">
                <a16:creationId xmlns:a16="http://schemas.microsoft.com/office/drawing/2014/main" id="{B96A6459-23F9-405B-B7E3-A765E09FE087}"/>
              </a:ext>
            </a:extLst>
          </p:cNvPr>
          <p:cNvGrpSpPr/>
          <p:nvPr/>
        </p:nvGrpSpPr>
        <p:grpSpPr>
          <a:xfrm>
            <a:off x="67998" y="1685510"/>
            <a:ext cx="8905249" cy="3678652"/>
            <a:chOff x="96122" y="1173557"/>
            <a:chExt cx="11873665" cy="4904869"/>
          </a:xfrm>
        </p:grpSpPr>
        <p:grpSp>
          <p:nvGrpSpPr>
            <p:cNvPr id="17" name="Group 16">
              <a:extLst>
                <a:ext uri="{FF2B5EF4-FFF2-40B4-BE49-F238E27FC236}">
                  <a16:creationId xmlns:a16="http://schemas.microsoft.com/office/drawing/2014/main" id="{D4006F3B-7C57-4373-9D6F-C2DCAF774830}"/>
                </a:ext>
              </a:extLst>
            </p:cNvPr>
            <p:cNvGrpSpPr/>
            <p:nvPr/>
          </p:nvGrpSpPr>
          <p:grpSpPr>
            <a:xfrm>
              <a:off x="434577" y="1635529"/>
              <a:ext cx="11535210" cy="4442897"/>
              <a:chOff x="434577" y="1247597"/>
              <a:chExt cx="11535210" cy="4442897"/>
            </a:xfrm>
          </p:grpSpPr>
          <p:sp>
            <p:nvSpPr>
              <p:cNvPr id="21" name="L-Shape 20">
                <a:extLst>
                  <a:ext uri="{FF2B5EF4-FFF2-40B4-BE49-F238E27FC236}">
                    <a16:creationId xmlns:a16="http://schemas.microsoft.com/office/drawing/2014/main" id="{C89C2C91-9DC6-4B01-A239-569714760F75}"/>
                  </a:ext>
                </a:extLst>
              </p:cNvPr>
              <p:cNvSpPr/>
              <p:nvPr/>
            </p:nvSpPr>
            <p:spPr>
              <a:xfrm rot="5400000">
                <a:off x="840447" y="2248645"/>
                <a:ext cx="2129228" cy="2940967"/>
              </a:xfrm>
              <a:prstGeom prst="corner">
                <a:avLst>
                  <a:gd name="adj1" fmla="val 16120"/>
                  <a:gd name="adj2" fmla="val 16110"/>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Freeform: Shape 21">
                <a:extLst>
                  <a:ext uri="{FF2B5EF4-FFF2-40B4-BE49-F238E27FC236}">
                    <a16:creationId xmlns:a16="http://schemas.microsoft.com/office/drawing/2014/main" id="{72CAA6B7-536A-4FFE-8902-C63A2DF1B9DD}"/>
                  </a:ext>
                </a:extLst>
              </p:cNvPr>
              <p:cNvSpPr/>
              <p:nvPr/>
            </p:nvSpPr>
            <p:spPr>
              <a:xfrm>
                <a:off x="762388" y="2886708"/>
                <a:ext cx="2774784" cy="2803786"/>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defTabSz="685800">
                  <a:defRPr/>
                </a:pPr>
                <a:r>
                  <a:rPr lang="en-US" sz="1050" b="1" dirty="0">
                    <a:solidFill>
                      <a:srgbClr val="474C55">
                        <a:hueOff val="0"/>
                        <a:satOff val="0"/>
                        <a:lumOff val="0"/>
                        <a:alphaOff val="0"/>
                      </a:srgbClr>
                    </a:solidFill>
                    <a:latin typeface="Calibri"/>
                  </a:rPr>
                  <a:t>Insights on the data dictionary and observable patterns</a:t>
                </a:r>
                <a:endParaRPr lang="en-IN" sz="1050" dirty="0"/>
              </a:p>
              <a:p>
                <a:pPr>
                  <a:defRPr/>
                </a:pPr>
                <a:endParaRPr lang="en-IN" sz="1050" dirty="0"/>
              </a:p>
              <a:p>
                <a:pPr>
                  <a:defRPr/>
                </a:pPr>
                <a:r>
                  <a:rPr lang="en-IN" sz="1050" b="1" dirty="0"/>
                  <a:t>Outcome: </a:t>
                </a:r>
                <a:r>
                  <a:rPr lang="en-US" sz="1050" dirty="0"/>
                  <a:t>Multiple short- and long-term insights and trends observed from the data. This also shapes the ground for modelling work</a:t>
                </a:r>
                <a:endParaRPr lang="en-IN" sz="1050" dirty="0"/>
              </a:p>
              <a:p>
                <a:pPr>
                  <a:defRPr/>
                </a:pPr>
                <a:endParaRPr lang="en-IN" sz="1050" dirty="0"/>
              </a:p>
              <a:p>
                <a:pPr defTabSz="685800">
                  <a:defRPr/>
                </a:pPr>
                <a:endParaRPr lang="en-US" sz="1050" dirty="0">
                  <a:solidFill>
                    <a:srgbClr val="474C55">
                      <a:hueOff val="0"/>
                      <a:satOff val="0"/>
                      <a:lumOff val="0"/>
                      <a:alphaOff val="0"/>
                    </a:srgbClr>
                  </a:solidFill>
                  <a:latin typeface="Calibri"/>
                </a:endParaRPr>
              </a:p>
            </p:txBody>
          </p:sp>
          <p:sp>
            <p:nvSpPr>
              <p:cNvPr id="24" name="L-Shape 23">
                <a:extLst>
                  <a:ext uri="{FF2B5EF4-FFF2-40B4-BE49-F238E27FC236}">
                    <a16:creationId xmlns:a16="http://schemas.microsoft.com/office/drawing/2014/main" id="{C7CE3E09-7755-412C-A27A-7A3C8B2509DE}"/>
                  </a:ext>
                </a:extLst>
              </p:cNvPr>
              <p:cNvSpPr/>
              <p:nvPr/>
            </p:nvSpPr>
            <p:spPr>
              <a:xfrm rot="5400000">
                <a:off x="3800252" y="1719202"/>
                <a:ext cx="2100470" cy="2756071"/>
              </a:xfrm>
              <a:prstGeom prst="corner">
                <a:avLst>
                  <a:gd name="adj1" fmla="val 16120"/>
                  <a:gd name="adj2" fmla="val 16110"/>
                </a:avLst>
              </a:prstGeom>
              <a:solidFill>
                <a:srgbClr val="EC3026"/>
              </a:solidFill>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5" name="Freeform: Shape 24">
                <a:extLst>
                  <a:ext uri="{FF2B5EF4-FFF2-40B4-BE49-F238E27FC236}">
                    <a16:creationId xmlns:a16="http://schemas.microsoft.com/office/drawing/2014/main" id="{D91421DA-E39C-4F59-A52E-6038B5B766C7}"/>
                  </a:ext>
                </a:extLst>
              </p:cNvPr>
              <p:cNvSpPr/>
              <p:nvPr/>
            </p:nvSpPr>
            <p:spPr>
              <a:xfrm>
                <a:off x="3827853" y="2402889"/>
                <a:ext cx="2436377" cy="3157825"/>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defTabSz="685800">
                  <a:defRPr/>
                </a:pPr>
                <a:endParaRPr lang="en-US" sz="1050" dirty="0">
                  <a:solidFill>
                    <a:srgbClr val="474C55">
                      <a:hueOff val="0"/>
                      <a:satOff val="0"/>
                      <a:lumOff val="0"/>
                      <a:alphaOff val="0"/>
                    </a:srgbClr>
                  </a:solidFill>
                  <a:latin typeface="Calibri"/>
                </a:endParaRPr>
              </a:p>
            </p:txBody>
          </p:sp>
          <p:sp>
            <p:nvSpPr>
              <p:cNvPr id="27" name="L-Shape 26">
                <a:extLst>
                  <a:ext uri="{FF2B5EF4-FFF2-40B4-BE49-F238E27FC236}">
                    <a16:creationId xmlns:a16="http://schemas.microsoft.com/office/drawing/2014/main" id="{BD71999B-CAAC-4EBD-A48C-FB75E557055B}"/>
                  </a:ext>
                </a:extLst>
              </p:cNvPr>
              <p:cNvSpPr/>
              <p:nvPr/>
            </p:nvSpPr>
            <p:spPr>
              <a:xfrm rot="5400000">
                <a:off x="9533177" y="928137"/>
                <a:ext cx="2117149" cy="2756070"/>
              </a:xfrm>
              <a:prstGeom prst="corner">
                <a:avLst>
                  <a:gd name="adj1" fmla="val 16120"/>
                  <a:gd name="adj2" fmla="val 16110"/>
                </a:avLst>
              </a:prstGeom>
              <a:solidFill>
                <a:srgbClr val="70AD47"/>
              </a:solidFill>
              <a:ln>
                <a:noFill/>
              </a:ln>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IN" sz="1350" dirty="0"/>
              </a:p>
            </p:txBody>
          </p:sp>
          <p:sp>
            <p:nvSpPr>
              <p:cNvPr id="28" name="Freeform: Shape 27">
                <a:extLst>
                  <a:ext uri="{FF2B5EF4-FFF2-40B4-BE49-F238E27FC236}">
                    <a16:creationId xmlns:a16="http://schemas.microsoft.com/office/drawing/2014/main" id="{03CBD150-36C0-4834-B848-3E4E62012CDB}"/>
                  </a:ext>
                </a:extLst>
              </p:cNvPr>
              <p:cNvSpPr/>
              <p:nvPr/>
            </p:nvSpPr>
            <p:spPr>
              <a:xfrm>
                <a:off x="6678053" y="2002576"/>
                <a:ext cx="2473182" cy="3321196"/>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defTabSz="685800">
                  <a:defRPr/>
                </a:pPr>
                <a:r>
                  <a:rPr lang="en-US" sz="1050" b="1" dirty="0">
                    <a:solidFill>
                      <a:srgbClr val="474C55"/>
                    </a:solidFill>
                    <a:latin typeface="Calibri"/>
                  </a:rPr>
                  <a:t>Use factors and guidance  in tree-based modelling approach</a:t>
                </a:r>
              </a:p>
              <a:p>
                <a:pPr>
                  <a:defRPr/>
                </a:pPr>
                <a:endParaRPr lang="en-US" sz="1050" dirty="0"/>
              </a:p>
              <a:p>
                <a:pPr>
                  <a:defRPr/>
                </a:pPr>
                <a:r>
                  <a:rPr lang="en-US" sz="1050" dirty="0"/>
                  <a:t>Sales volume forecasting using bagging method along with other variables to predict future demand.</a:t>
                </a:r>
              </a:p>
              <a:p>
                <a:pPr>
                  <a:defRPr/>
                </a:pPr>
                <a:r>
                  <a:rPr lang="en-IN" sz="1050" b="1" dirty="0"/>
                  <a:t>Outcome: </a:t>
                </a:r>
                <a:r>
                  <a:rPr lang="en-US" sz="1050" dirty="0"/>
                  <a:t>Model per Product Group-Channel- Country combination</a:t>
                </a:r>
              </a:p>
              <a:p>
                <a:pPr>
                  <a:defRPr/>
                </a:pPr>
                <a:endParaRPr lang="en-US" sz="1050" dirty="0"/>
              </a:p>
              <a:p>
                <a:pPr>
                  <a:defRPr/>
                </a:pPr>
                <a:endParaRPr lang="en-US" sz="1050" dirty="0"/>
              </a:p>
              <a:p>
                <a:pPr defTabSz="685800">
                  <a:defRPr/>
                </a:pPr>
                <a:endParaRPr lang="en-US" sz="1050" b="1" dirty="0">
                  <a:solidFill>
                    <a:srgbClr val="474C55"/>
                  </a:solidFill>
                  <a:latin typeface="Calibri"/>
                </a:endParaRPr>
              </a:p>
            </p:txBody>
          </p:sp>
        </p:grpSp>
        <p:sp>
          <p:nvSpPr>
            <p:cNvPr id="18" name="Freeform: Shape 17">
              <a:extLst>
                <a:ext uri="{FF2B5EF4-FFF2-40B4-BE49-F238E27FC236}">
                  <a16:creationId xmlns:a16="http://schemas.microsoft.com/office/drawing/2014/main" id="{FC8E233F-76F6-436F-8900-86290260040E}"/>
                </a:ext>
              </a:extLst>
            </p:cNvPr>
            <p:cNvSpPr/>
            <p:nvPr/>
          </p:nvSpPr>
          <p:spPr>
            <a:xfrm>
              <a:off x="96122" y="2306750"/>
              <a:ext cx="3198629" cy="658252"/>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defTabSz="966788">
                <a:lnSpc>
                  <a:spcPct val="90000"/>
                </a:lnSpc>
                <a:spcBef>
                  <a:spcPct val="0"/>
                </a:spcBef>
                <a:spcAft>
                  <a:spcPct val="35000"/>
                </a:spcAft>
                <a:defRPr/>
              </a:pPr>
              <a:r>
                <a:rPr lang="en-IN" sz="1500" b="1" dirty="0"/>
                <a:t>Insights</a:t>
              </a:r>
            </a:p>
            <a:p>
              <a:pPr algn="ctr" defTabSz="966788">
                <a:lnSpc>
                  <a:spcPct val="90000"/>
                </a:lnSpc>
                <a:spcBef>
                  <a:spcPct val="0"/>
                </a:spcBef>
                <a:spcAft>
                  <a:spcPct val="35000"/>
                </a:spcAft>
                <a:defRPr/>
              </a:pPr>
              <a:endParaRPr lang="en-IN" sz="1500" b="1" dirty="0">
                <a:solidFill>
                  <a:srgbClr val="474C55">
                    <a:hueOff val="0"/>
                    <a:satOff val="0"/>
                    <a:lumOff val="0"/>
                    <a:alphaOff val="0"/>
                  </a:srgbClr>
                </a:solidFill>
                <a:latin typeface="Calibri"/>
              </a:endParaRPr>
            </a:p>
          </p:txBody>
        </p:sp>
        <p:sp>
          <p:nvSpPr>
            <p:cNvPr id="19" name="Freeform: Shape 18">
              <a:extLst>
                <a:ext uri="{FF2B5EF4-FFF2-40B4-BE49-F238E27FC236}">
                  <a16:creationId xmlns:a16="http://schemas.microsoft.com/office/drawing/2014/main" id="{D78DA6A3-F7BC-495A-BA9D-92083BE41DE9}"/>
                </a:ext>
              </a:extLst>
            </p:cNvPr>
            <p:cNvSpPr/>
            <p:nvPr/>
          </p:nvSpPr>
          <p:spPr>
            <a:xfrm>
              <a:off x="3468497" y="1606115"/>
              <a:ext cx="3198629" cy="645822"/>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defTabSz="966788">
                <a:lnSpc>
                  <a:spcPct val="90000"/>
                </a:lnSpc>
                <a:spcBef>
                  <a:spcPct val="0"/>
                </a:spcBef>
                <a:spcAft>
                  <a:spcPct val="35000"/>
                </a:spcAft>
                <a:defRPr/>
              </a:pPr>
              <a:r>
                <a:rPr lang="en-IN" sz="1500" b="1" dirty="0"/>
                <a:t>Volume Price </a:t>
              </a:r>
            </a:p>
            <a:p>
              <a:pPr algn="ctr" defTabSz="966788">
                <a:lnSpc>
                  <a:spcPct val="90000"/>
                </a:lnSpc>
                <a:spcBef>
                  <a:spcPct val="0"/>
                </a:spcBef>
                <a:spcAft>
                  <a:spcPct val="35000"/>
                </a:spcAft>
                <a:defRPr/>
              </a:pPr>
              <a:r>
                <a:rPr lang="en-IN" sz="1500" b="1" dirty="0"/>
                <a:t>Equation</a:t>
              </a:r>
            </a:p>
          </p:txBody>
        </p:sp>
        <p:sp>
          <p:nvSpPr>
            <p:cNvPr id="20" name="Freeform: Shape 19">
              <a:extLst>
                <a:ext uri="{FF2B5EF4-FFF2-40B4-BE49-F238E27FC236}">
                  <a16:creationId xmlns:a16="http://schemas.microsoft.com/office/drawing/2014/main" id="{E1C47C1B-05FE-4433-9C2A-714BDB4A8327}"/>
                </a:ext>
              </a:extLst>
            </p:cNvPr>
            <p:cNvSpPr/>
            <p:nvPr/>
          </p:nvSpPr>
          <p:spPr>
            <a:xfrm>
              <a:off x="6550601" y="1173557"/>
              <a:ext cx="2793561" cy="820155"/>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defTabSz="966788">
                <a:spcBef>
                  <a:spcPct val="0"/>
                </a:spcBef>
                <a:defRPr/>
              </a:pPr>
              <a:r>
                <a:rPr lang="en-IN" sz="1500" b="1" dirty="0"/>
                <a:t>Sales Volume Forecasting</a:t>
              </a:r>
            </a:p>
            <a:p>
              <a:pPr defTabSz="966788">
                <a:lnSpc>
                  <a:spcPct val="90000"/>
                </a:lnSpc>
                <a:spcBef>
                  <a:spcPct val="0"/>
                </a:spcBef>
                <a:spcAft>
                  <a:spcPct val="35000"/>
                </a:spcAft>
                <a:defRPr/>
              </a:pPr>
              <a:endParaRPr lang="en-IN" sz="1200" b="1" dirty="0">
                <a:solidFill>
                  <a:srgbClr val="474C55">
                    <a:hueOff val="0"/>
                    <a:satOff val="0"/>
                    <a:lumOff val="0"/>
                    <a:alphaOff val="0"/>
                  </a:srgbClr>
                </a:solidFill>
                <a:latin typeface="Calibri"/>
              </a:endParaRPr>
            </a:p>
          </p:txBody>
        </p:sp>
      </p:grpSp>
      <p:sp>
        <p:nvSpPr>
          <p:cNvPr id="31" name="L-Shape 30">
            <a:extLst>
              <a:ext uri="{FF2B5EF4-FFF2-40B4-BE49-F238E27FC236}">
                <a16:creationId xmlns:a16="http://schemas.microsoft.com/office/drawing/2014/main" id="{3FEC005D-9E3D-4176-8C43-237914AC573B}"/>
              </a:ext>
            </a:extLst>
          </p:cNvPr>
          <p:cNvSpPr/>
          <p:nvPr/>
        </p:nvSpPr>
        <p:spPr>
          <a:xfrm rot="5400000">
            <a:off x="4989029" y="2106607"/>
            <a:ext cx="1575353" cy="2067053"/>
          </a:xfrm>
          <a:prstGeom prst="corner">
            <a:avLst>
              <a:gd name="adj1" fmla="val 16120"/>
              <a:gd name="adj2" fmla="val 16110"/>
            </a:avLst>
          </a:prstGeom>
          <a:solidFill>
            <a:srgbClr val="FFC000">
              <a:hueOff val="0"/>
              <a:satOff val="0"/>
              <a:lumOff val="0"/>
              <a:alphaOff val="0"/>
            </a:srgbClr>
          </a:solidFill>
          <a:ln w="12700" cap="flat" cmpd="sng" algn="ctr">
            <a:solidFill>
              <a:srgbClr val="FFC000">
                <a:hueOff val="0"/>
                <a:satOff val="0"/>
                <a:lumOff val="0"/>
                <a:alphaOff val="0"/>
              </a:srgbClr>
            </a:solidFill>
            <a:prstDash val="solid"/>
            <a:miter lim="800000"/>
          </a:ln>
          <a:effectLst/>
        </p:spPr>
      </p:sp>
      <p:sp>
        <p:nvSpPr>
          <p:cNvPr id="39" name="Freeform: Shape 38">
            <a:extLst>
              <a:ext uri="{FF2B5EF4-FFF2-40B4-BE49-F238E27FC236}">
                <a16:creationId xmlns:a16="http://schemas.microsoft.com/office/drawing/2014/main" id="{06A57840-A788-47B3-B048-2C7B7AB636DA}"/>
              </a:ext>
            </a:extLst>
          </p:cNvPr>
          <p:cNvSpPr/>
          <p:nvPr/>
        </p:nvSpPr>
        <p:spPr>
          <a:xfrm>
            <a:off x="7331341" y="1516239"/>
            <a:ext cx="1812659" cy="493689"/>
          </a:xfrm>
          <a:custGeom>
            <a:avLst/>
            <a:gdLst>
              <a:gd name="connsiteX0" fmla="*/ 0 w 3198629"/>
              <a:gd name="connsiteY0" fmla="*/ 0 h 2803786"/>
              <a:gd name="connsiteX1" fmla="*/ 3198629 w 3198629"/>
              <a:gd name="connsiteY1" fmla="*/ 0 h 2803786"/>
              <a:gd name="connsiteX2" fmla="*/ 3198629 w 3198629"/>
              <a:gd name="connsiteY2" fmla="*/ 2803786 h 2803786"/>
              <a:gd name="connsiteX3" fmla="*/ 0 w 3198629"/>
              <a:gd name="connsiteY3" fmla="*/ 2803786 h 2803786"/>
              <a:gd name="connsiteX4" fmla="*/ 0 w 3198629"/>
              <a:gd name="connsiteY4" fmla="*/ 0 h 2803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629" h="2803786">
                <a:moveTo>
                  <a:pt x="0" y="0"/>
                </a:moveTo>
                <a:lnTo>
                  <a:pt x="3198629" y="0"/>
                </a:lnTo>
                <a:lnTo>
                  <a:pt x="3198629" y="2803786"/>
                </a:lnTo>
                <a:lnTo>
                  <a:pt x="0" y="280378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a:r>
              <a:rPr lang="en-US" sz="1600" dirty="0"/>
              <a:t>SLSQP Optimization </a:t>
            </a:r>
            <a:endParaRPr lang="en-GB" sz="1600" dirty="0"/>
          </a:p>
          <a:p>
            <a:pPr algn="ctr" defTabSz="966788">
              <a:lnSpc>
                <a:spcPct val="90000"/>
              </a:lnSpc>
              <a:spcBef>
                <a:spcPct val="0"/>
              </a:spcBef>
              <a:spcAft>
                <a:spcPct val="35000"/>
              </a:spcAft>
              <a:defRPr/>
            </a:pPr>
            <a:endParaRPr lang="en-IN" sz="1500" b="1" dirty="0">
              <a:solidFill>
                <a:srgbClr val="474C55">
                  <a:hueOff val="0"/>
                  <a:satOff val="0"/>
                  <a:lumOff val="0"/>
                  <a:alphaOff val="0"/>
                </a:srgbClr>
              </a:solidFill>
              <a:latin typeface="Calibri"/>
            </a:endParaRPr>
          </a:p>
        </p:txBody>
      </p:sp>
      <p:sp>
        <p:nvSpPr>
          <p:cNvPr id="4" name="Rectangle 3">
            <a:extLst>
              <a:ext uri="{FF2B5EF4-FFF2-40B4-BE49-F238E27FC236}">
                <a16:creationId xmlns:a16="http://schemas.microsoft.com/office/drawing/2014/main" id="{7E2A034E-2F4A-4F21-8943-235B2203E842}"/>
              </a:ext>
            </a:extLst>
          </p:cNvPr>
          <p:cNvSpPr/>
          <p:nvPr/>
        </p:nvSpPr>
        <p:spPr>
          <a:xfrm>
            <a:off x="2842686" y="2917205"/>
            <a:ext cx="1930480" cy="210284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a:r>
              <a:rPr lang="en-US" sz="1050" b="1" dirty="0">
                <a:solidFill>
                  <a:srgbClr val="474C55">
                    <a:hueOff val="0"/>
                    <a:satOff val="0"/>
                    <a:lumOff val="0"/>
                    <a:alphaOff val="0"/>
                  </a:srgbClr>
                </a:solidFill>
                <a:latin typeface="Calibri"/>
              </a:rPr>
              <a:t>Modelling Linear Regression to volume-price fit</a:t>
            </a:r>
            <a:endParaRPr lang="en-US" sz="1050" b="1" dirty="0"/>
          </a:p>
          <a:p>
            <a:endParaRPr lang="en-US" sz="1050" dirty="0">
              <a:solidFill>
                <a:srgbClr val="474C55">
                  <a:hueOff val="0"/>
                  <a:satOff val="0"/>
                  <a:lumOff val="0"/>
                  <a:alphaOff val="0"/>
                </a:srgbClr>
              </a:solidFill>
              <a:latin typeface="Calibri"/>
            </a:endParaRPr>
          </a:p>
          <a:p>
            <a:r>
              <a:rPr lang="en-US" sz="1050" dirty="0">
                <a:solidFill>
                  <a:srgbClr val="474C55">
                    <a:hueOff val="0"/>
                    <a:satOff val="0"/>
                    <a:lumOff val="0"/>
                    <a:alphaOff val="0"/>
                  </a:srgbClr>
                </a:solidFill>
                <a:latin typeface="Calibri"/>
              </a:rPr>
              <a:t>Both volume and Price is dynamic and depend on each other. Very high price will reduce the sales  and very low price will reduce the gross profit</a:t>
            </a:r>
          </a:p>
          <a:p>
            <a:endParaRPr lang="en-US" sz="1050" b="1" dirty="0">
              <a:solidFill>
                <a:srgbClr val="474C55">
                  <a:hueOff val="0"/>
                  <a:satOff val="0"/>
                  <a:lumOff val="0"/>
                  <a:alphaOff val="0"/>
                </a:srgbClr>
              </a:solidFill>
              <a:latin typeface="Calibri"/>
            </a:endParaRPr>
          </a:p>
          <a:p>
            <a:r>
              <a:rPr lang="en-IN" sz="1050" b="1" dirty="0"/>
              <a:t>Outcome: </a:t>
            </a:r>
            <a:r>
              <a:rPr lang="en-US" sz="1050" dirty="0">
                <a:solidFill>
                  <a:srgbClr val="474C55">
                    <a:hueOff val="0"/>
                    <a:satOff val="0"/>
                    <a:lumOff val="0"/>
                    <a:alphaOff val="0"/>
                  </a:srgbClr>
                </a:solidFill>
                <a:latin typeface="Calibri"/>
              </a:rPr>
              <a:t>Linear equation for each Product-Channel-Country combination.</a:t>
            </a:r>
            <a:endParaRPr lang="en-IN" sz="1050" dirty="0">
              <a:solidFill>
                <a:srgbClr val="474C55">
                  <a:hueOff val="0"/>
                  <a:satOff val="0"/>
                  <a:lumOff val="0"/>
                  <a:alphaOff val="0"/>
                </a:srgbClr>
              </a:solidFill>
              <a:latin typeface="Calibri"/>
            </a:endParaRPr>
          </a:p>
        </p:txBody>
      </p:sp>
      <p:sp>
        <p:nvSpPr>
          <p:cNvPr id="5" name="Rectangle 4">
            <a:extLst>
              <a:ext uri="{FF2B5EF4-FFF2-40B4-BE49-F238E27FC236}">
                <a16:creationId xmlns:a16="http://schemas.microsoft.com/office/drawing/2014/main" id="{569A4555-C958-4429-872D-DCDA86A2E673}"/>
              </a:ext>
            </a:extLst>
          </p:cNvPr>
          <p:cNvSpPr/>
          <p:nvPr/>
        </p:nvSpPr>
        <p:spPr>
          <a:xfrm>
            <a:off x="7166714" y="2243311"/>
            <a:ext cx="1812659" cy="27359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868" tIns="82868" rIns="82868" bIns="82868" numCol="1" spcCol="1270" anchor="t" anchorCtr="0">
            <a:noAutofit/>
          </a:bodyPr>
          <a:lstStyle/>
          <a:p>
            <a:pPr algn="ctr"/>
            <a:r>
              <a:rPr lang="en-US" sz="1050" b="1" dirty="0">
                <a:solidFill>
                  <a:srgbClr val="474C55"/>
                </a:solidFill>
                <a:latin typeface="Calibri"/>
              </a:rPr>
              <a:t>Using the simulations to understand the impact of factor/constraint changes on output variable</a:t>
            </a:r>
          </a:p>
          <a:p>
            <a:endParaRPr lang="en-US" sz="1050" dirty="0">
              <a:solidFill>
                <a:srgbClr val="474C55"/>
              </a:solidFill>
              <a:latin typeface="Calibri"/>
            </a:endParaRPr>
          </a:p>
          <a:p>
            <a:r>
              <a:rPr lang="en-US" sz="1050" dirty="0">
                <a:solidFill>
                  <a:srgbClr val="474C55"/>
                </a:solidFill>
                <a:latin typeface="Calibri"/>
              </a:rPr>
              <a:t>Scenario building to optimize the Sales volume on different price ranges and assessing the optimal price recommendation for a product. </a:t>
            </a:r>
          </a:p>
          <a:p>
            <a:endParaRPr lang="en-US" sz="1050" dirty="0">
              <a:solidFill>
                <a:srgbClr val="474C55"/>
              </a:solidFill>
              <a:latin typeface="Calibri"/>
            </a:endParaRPr>
          </a:p>
          <a:p>
            <a:r>
              <a:rPr lang="en-IN" sz="1050" b="1" dirty="0"/>
              <a:t>Outcome: </a:t>
            </a:r>
            <a:r>
              <a:rPr lang="en-US" sz="1050" dirty="0">
                <a:solidFill>
                  <a:srgbClr val="474C55"/>
                </a:solidFill>
                <a:latin typeface="Calibri"/>
              </a:rPr>
              <a:t>The output will be optimized sales volume and selling price constrained on the cost and the volume.</a:t>
            </a:r>
          </a:p>
        </p:txBody>
      </p:sp>
      <p:pic>
        <p:nvPicPr>
          <p:cNvPr id="8202" name="Picture 10" descr="Simulation - Free communications icons">
            <a:extLst>
              <a:ext uri="{FF2B5EF4-FFF2-40B4-BE49-F238E27FC236}">
                <a16:creationId xmlns:a16="http://schemas.microsoft.com/office/drawing/2014/main" id="{ED82697C-4489-4EAE-A09F-682B4E3A79B4}"/>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2138" y="1649198"/>
            <a:ext cx="570913" cy="570913"/>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descr="Mobile options, options, touch options, touch sensitivity icon - Download  on Iconfinder">
            <a:extLst>
              <a:ext uri="{FF2B5EF4-FFF2-40B4-BE49-F238E27FC236}">
                <a16:creationId xmlns:a16="http://schemas.microsoft.com/office/drawing/2014/main" id="{959A13D9-ADFE-433E-B1C1-11E44C2566D6}"/>
              </a:ext>
            </a:extLst>
          </p:cNvPr>
          <p:cNvPicPr>
            <a:picLocks noChangeAspect="1" noChangeArrowheads="1"/>
          </p:cNvPicPr>
          <p:nvPr/>
        </p:nvPicPr>
        <p:blipFill>
          <a:blip r:embed="rId3">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6769673" y="1187254"/>
            <a:ext cx="730807" cy="73080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Formula FX icon PNG and SVG Vector Free Download">
            <a:extLst>
              <a:ext uri="{FF2B5EF4-FFF2-40B4-BE49-F238E27FC236}">
                <a16:creationId xmlns:a16="http://schemas.microsoft.com/office/drawing/2014/main" id="{272C3524-7CB9-49EE-B30C-0F08CA104D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01903" y="1951480"/>
            <a:ext cx="489443" cy="4916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sights-icon - GeoPoll">
            <a:extLst>
              <a:ext uri="{FF2B5EF4-FFF2-40B4-BE49-F238E27FC236}">
                <a16:creationId xmlns:a16="http://schemas.microsoft.com/office/drawing/2014/main" id="{7867E8A3-A733-4FEC-9B64-CA2265272D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929" y="2197294"/>
            <a:ext cx="778960" cy="77896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96954ED-1EC1-4E3F-9549-A92FFD066476}"/>
              </a:ext>
            </a:extLst>
          </p:cNvPr>
          <p:cNvSpPr/>
          <p:nvPr/>
        </p:nvSpPr>
        <p:spPr>
          <a:xfrm>
            <a:off x="2527565" y="1090491"/>
            <a:ext cx="6548437" cy="3929553"/>
          </a:xfrm>
          <a:custGeom>
            <a:avLst/>
            <a:gdLst>
              <a:gd name="connsiteX0" fmla="*/ 0 w 6548437"/>
              <a:gd name="connsiteY0" fmla="*/ 0 h 3929553"/>
              <a:gd name="connsiteX1" fmla="*/ 595312 w 6548437"/>
              <a:gd name="connsiteY1" fmla="*/ 0 h 3929553"/>
              <a:gd name="connsiteX2" fmla="*/ 994172 w 6548437"/>
              <a:gd name="connsiteY2" fmla="*/ 0 h 3929553"/>
              <a:gd name="connsiteX3" fmla="*/ 1524000 w 6548437"/>
              <a:gd name="connsiteY3" fmla="*/ 0 h 3929553"/>
              <a:gd name="connsiteX4" fmla="*/ 2250281 w 6548437"/>
              <a:gd name="connsiteY4" fmla="*/ 0 h 3929553"/>
              <a:gd name="connsiteX5" fmla="*/ 2911078 w 6548437"/>
              <a:gd name="connsiteY5" fmla="*/ 0 h 3929553"/>
              <a:gd name="connsiteX6" fmla="*/ 3637359 w 6548437"/>
              <a:gd name="connsiteY6" fmla="*/ 0 h 3929553"/>
              <a:gd name="connsiteX7" fmla="*/ 4232672 w 6548437"/>
              <a:gd name="connsiteY7" fmla="*/ 0 h 3929553"/>
              <a:gd name="connsiteX8" fmla="*/ 4697015 w 6548437"/>
              <a:gd name="connsiteY8" fmla="*/ 0 h 3929553"/>
              <a:gd name="connsiteX9" fmla="*/ 5095875 w 6548437"/>
              <a:gd name="connsiteY9" fmla="*/ 0 h 3929553"/>
              <a:gd name="connsiteX10" fmla="*/ 5691187 w 6548437"/>
              <a:gd name="connsiteY10" fmla="*/ 0 h 3929553"/>
              <a:gd name="connsiteX11" fmla="*/ 6548437 w 6548437"/>
              <a:gd name="connsiteY11" fmla="*/ 0 h 3929553"/>
              <a:gd name="connsiteX12" fmla="*/ 6548437 w 6548437"/>
              <a:gd name="connsiteY12" fmla="*/ 639956 h 3929553"/>
              <a:gd name="connsiteX13" fmla="*/ 6548437 w 6548437"/>
              <a:gd name="connsiteY13" fmla="*/ 1201320 h 3929553"/>
              <a:gd name="connsiteX14" fmla="*/ 6548437 w 6548437"/>
              <a:gd name="connsiteY14" fmla="*/ 1644799 h 3929553"/>
              <a:gd name="connsiteX15" fmla="*/ 6548437 w 6548437"/>
              <a:gd name="connsiteY15" fmla="*/ 2127572 h 3929553"/>
              <a:gd name="connsiteX16" fmla="*/ 6548437 w 6548437"/>
              <a:gd name="connsiteY16" fmla="*/ 2649641 h 3929553"/>
              <a:gd name="connsiteX17" fmla="*/ 6548437 w 6548437"/>
              <a:gd name="connsiteY17" fmla="*/ 3093120 h 3929553"/>
              <a:gd name="connsiteX18" fmla="*/ 6548437 w 6548437"/>
              <a:gd name="connsiteY18" fmla="*/ 3929553 h 3929553"/>
              <a:gd name="connsiteX19" fmla="*/ 6018609 w 6548437"/>
              <a:gd name="connsiteY19" fmla="*/ 3929553 h 3929553"/>
              <a:gd name="connsiteX20" fmla="*/ 5554265 w 6548437"/>
              <a:gd name="connsiteY20" fmla="*/ 3929553 h 3929553"/>
              <a:gd name="connsiteX21" fmla="*/ 4958953 w 6548437"/>
              <a:gd name="connsiteY21" fmla="*/ 3929553 h 3929553"/>
              <a:gd name="connsiteX22" fmla="*/ 4298156 w 6548437"/>
              <a:gd name="connsiteY22" fmla="*/ 3929553 h 3929553"/>
              <a:gd name="connsiteX23" fmla="*/ 3571875 w 6548437"/>
              <a:gd name="connsiteY23" fmla="*/ 3929553 h 3929553"/>
              <a:gd name="connsiteX24" fmla="*/ 3173015 w 6548437"/>
              <a:gd name="connsiteY24" fmla="*/ 3929553 h 3929553"/>
              <a:gd name="connsiteX25" fmla="*/ 2577703 w 6548437"/>
              <a:gd name="connsiteY25" fmla="*/ 3929553 h 3929553"/>
              <a:gd name="connsiteX26" fmla="*/ 1982390 w 6548437"/>
              <a:gd name="connsiteY26" fmla="*/ 3929553 h 3929553"/>
              <a:gd name="connsiteX27" fmla="*/ 1583531 w 6548437"/>
              <a:gd name="connsiteY27" fmla="*/ 3929553 h 3929553"/>
              <a:gd name="connsiteX28" fmla="*/ 922734 w 6548437"/>
              <a:gd name="connsiteY28" fmla="*/ 3929553 h 3929553"/>
              <a:gd name="connsiteX29" fmla="*/ 523875 w 6548437"/>
              <a:gd name="connsiteY29" fmla="*/ 3929553 h 3929553"/>
              <a:gd name="connsiteX30" fmla="*/ 0 w 6548437"/>
              <a:gd name="connsiteY30" fmla="*/ 3929553 h 3929553"/>
              <a:gd name="connsiteX31" fmla="*/ 0 w 6548437"/>
              <a:gd name="connsiteY31" fmla="*/ 3328893 h 3929553"/>
              <a:gd name="connsiteX32" fmla="*/ 0 w 6548437"/>
              <a:gd name="connsiteY32" fmla="*/ 2885415 h 3929553"/>
              <a:gd name="connsiteX33" fmla="*/ 0 w 6548437"/>
              <a:gd name="connsiteY33" fmla="*/ 2284754 h 3929553"/>
              <a:gd name="connsiteX34" fmla="*/ 0 w 6548437"/>
              <a:gd name="connsiteY34" fmla="*/ 1841276 h 3929553"/>
              <a:gd name="connsiteX35" fmla="*/ 0 w 6548437"/>
              <a:gd name="connsiteY35" fmla="*/ 1358503 h 3929553"/>
              <a:gd name="connsiteX36" fmla="*/ 0 w 6548437"/>
              <a:gd name="connsiteY36" fmla="*/ 718547 h 3929553"/>
              <a:gd name="connsiteX37" fmla="*/ 0 w 6548437"/>
              <a:gd name="connsiteY37" fmla="*/ 0 h 392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548437" h="3929553" extrusionOk="0">
                <a:moveTo>
                  <a:pt x="0" y="0"/>
                </a:moveTo>
                <a:cubicBezTo>
                  <a:pt x="194603" y="-55841"/>
                  <a:pt x="304532" y="60870"/>
                  <a:pt x="595312" y="0"/>
                </a:cubicBezTo>
                <a:cubicBezTo>
                  <a:pt x="886092" y="-60870"/>
                  <a:pt x="855136" y="17144"/>
                  <a:pt x="994172" y="0"/>
                </a:cubicBezTo>
                <a:cubicBezTo>
                  <a:pt x="1133208" y="-17144"/>
                  <a:pt x="1287817" y="24807"/>
                  <a:pt x="1524000" y="0"/>
                </a:cubicBezTo>
                <a:cubicBezTo>
                  <a:pt x="1760183" y="-24807"/>
                  <a:pt x="2025245" y="29019"/>
                  <a:pt x="2250281" y="0"/>
                </a:cubicBezTo>
                <a:cubicBezTo>
                  <a:pt x="2475317" y="-29019"/>
                  <a:pt x="2673237" y="47510"/>
                  <a:pt x="2911078" y="0"/>
                </a:cubicBezTo>
                <a:cubicBezTo>
                  <a:pt x="3148919" y="-47510"/>
                  <a:pt x="3349975" y="84895"/>
                  <a:pt x="3637359" y="0"/>
                </a:cubicBezTo>
                <a:cubicBezTo>
                  <a:pt x="3924743" y="-84895"/>
                  <a:pt x="3968981" y="47459"/>
                  <a:pt x="4232672" y="0"/>
                </a:cubicBezTo>
                <a:cubicBezTo>
                  <a:pt x="4496363" y="-47459"/>
                  <a:pt x="4545768" y="32012"/>
                  <a:pt x="4697015" y="0"/>
                </a:cubicBezTo>
                <a:cubicBezTo>
                  <a:pt x="4848262" y="-32012"/>
                  <a:pt x="4937203" y="35010"/>
                  <a:pt x="5095875" y="0"/>
                </a:cubicBezTo>
                <a:cubicBezTo>
                  <a:pt x="5254547" y="-35010"/>
                  <a:pt x="5518826" y="57644"/>
                  <a:pt x="5691187" y="0"/>
                </a:cubicBezTo>
                <a:cubicBezTo>
                  <a:pt x="5863548" y="-57644"/>
                  <a:pt x="6214530" y="100935"/>
                  <a:pt x="6548437" y="0"/>
                </a:cubicBezTo>
                <a:cubicBezTo>
                  <a:pt x="6585756" y="234780"/>
                  <a:pt x="6491520" y="479895"/>
                  <a:pt x="6548437" y="639956"/>
                </a:cubicBezTo>
                <a:cubicBezTo>
                  <a:pt x="6605354" y="800017"/>
                  <a:pt x="6506629" y="966983"/>
                  <a:pt x="6548437" y="1201320"/>
                </a:cubicBezTo>
                <a:cubicBezTo>
                  <a:pt x="6590245" y="1435657"/>
                  <a:pt x="6512642" y="1436073"/>
                  <a:pt x="6548437" y="1644799"/>
                </a:cubicBezTo>
                <a:cubicBezTo>
                  <a:pt x="6584232" y="1853525"/>
                  <a:pt x="6505108" y="1968357"/>
                  <a:pt x="6548437" y="2127572"/>
                </a:cubicBezTo>
                <a:cubicBezTo>
                  <a:pt x="6591766" y="2286787"/>
                  <a:pt x="6522487" y="2500353"/>
                  <a:pt x="6548437" y="2649641"/>
                </a:cubicBezTo>
                <a:cubicBezTo>
                  <a:pt x="6574387" y="2798929"/>
                  <a:pt x="6503442" y="2935782"/>
                  <a:pt x="6548437" y="3093120"/>
                </a:cubicBezTo>
                <a:cubicBezTo>
                  <a:pt x="6593432" y="3250458"/>
                  <a:pt x="6453796" y="3550771"/>
                  <a:pt x="6548437" y="3929553"/>
                </a:cubicBezTo>
                <a:cubicBezTo>
                  <a:pt x="6347267" y="3963695"/>
                  <a:pt x="6264493" y="3890535"/>
                  <a:pt x="6018609" y="3929553"/>
                </a:cubicBezTo>
                <a:cubicBezTo>
                  <a:pt x="5772725" y="3968571"/>
                  <a:pt x="5663310" y="3917767"/>
                  <a:pt x="5554265" y="3929553"/>
                </a:cubicBezTo>
                <a:cubicBezTo>
                  <a:pt x="5445220" y="3941339"/>
                  <a:pt x="5204840" y="3924702"/>
                  <a:pt x="4958953" y="3929553"/>
                </a:cubicBezTo>
                <a:cubicBezTo>
                  <a:pt x="4713066" y="3934404"/>
                  <a:pt x="4442794" y="3899181"/>
                  <a:pt x="4298156" y="3929553"/>
                </a:cubicBezTo>
                <a:cubicBezTo>
                  <a:pt x="4153518" y="3959925"/>
                  <a:pt x="3929789" y="3900694"/>
                  <a:pt x="3571875" y="3929553"/>
                </a:cubicBezTo>
                <a:cubicBezTo>
                  <a:pt x="3213961" y="3958412"/>
                  <a:pt x="3362154" y="3906183"/>
                  <a:pt x="3173015" y="3929553"/>
                </a:cubicBezTo>
                <a:cubicBezTo>
                  <a:pt x="2983876" y="3952923"/>
                  <a:pt x="2863578" y="3860531"/>
                  <a:pt x="2577703" y="3929553"/>
                </a:cubicBezTo>
                <a:cubicBezTo>
                  <a:pt x="2291828" y="3998575"/>
                  <a:pt x="2194518" y="3878588"/>
                  <a:pt x="1982390" y="3929553"/>
                </a:cubicBezTo>
                <a:cubicBezTo>
                  <a:pt x="1770262" y="3980518"/>
                  <a:pt x="1730307" y="3909720"/>
                  <a:pt x="1583531" y="3929553"/>
                </a:cubicBezTo>
                <a:cubicBezTo>
                  <a:pt x="1436755" y="3949386"/>
                  <a:pt x="1239710" y="3910320"/>
                  <a:pt x="922734" y="3929553"/>
                </a:cubicBezTo>
                <a:cubicBezTo>
                  <a:pt x="605758" y="3948786"/>
                  <a:pt x="720930" y="3893495"/>
                  <a:pt x="523875" y="3929553"/>
                </a:cubicBezTo>
                <a:cubicBezTo>
                  <a:pt x="326820" y="3965611"/>
                  <a:pt x="190623" y="3914393"/>
                  <a:pt x="0" y="3929553"/>
                </a:cubicBezTo>
                <a:cubicBezTo>
                  <a:pt x="-20269" y="3718010"/>
                  <a:pt x="54039" y="3616338"/>
                  <a:pt x="0" y="3328893"/>
                </a:cubicBezTo>
                <a:cubicBezTo>
                  <a:pt x="-54039" y="3041448"/>
                  <a:pt x="21405" y="3060601"/>
                  <a:pt x="0" y="2885415"/>
                </a:cubicBezTo>
                <a:cubicBezTo>
                  <a:pt x="-21405" y="2710229"/>
                  <a:pt x="36947" y="2481144"/>
                  <a:pt x="0" y="2284754"/>
                </a:cubicBezTo>
                <a:cubicBezTo>
                  <a:pt x="-36947" y="2088364"/>
                  <a:pt x="37714" y="1933966"/>
                  <a:pt x="0" y="1841276"/>
                </a:cubicBezTo>
                <a:cubicBezTo>
                  <a:pt x="-37714" y="1748586"/>
                  <a:pt x="13763" y="1455355"/>
                  <a:pt x="0" y="1358503"/>
                </a:cubicBezTo>
                <a:cubicBezTo>
                  <a:pt x="-13763" y="1261651"/>
                  <a:pt x="65938" y="995535"/>
                  <a:pt x="0" y="718547"/>
                </a:cubicBezTo>
                <a:cubicBezTo>
                  <a:pt x="-65938" y="441559"/>
                  <a:pt x="77368" y="290144"/>
                  <a:pt x="0" y="0"/>
                </a:cubicBezTo>
                <a:close/>
              </a:path>
            </a:pathLst>
          </a:custGeom>
          <a:noFill/>
          <a:ln>
            <a:extLst>
              <a:ext uri="{C807C97D-BFC1-408E-A445-0C87EB9F89A2}">
                <ask:lineSketchStyleProps xmlns:ask="http://schemas.microsoft.com/office/drawing/2018/sketchyshapes" sd="2479456670">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Box 5">
            <a:extLst>
              <a:ext uri="{FF2B5EF4-FFF2-40B4-BE49-F238E27FC236}">
                <a16:creationId xmlns:a16="http://schemas.microsoft.com/office/drawing/2014/main" id="{889AC713-95DD-4428-91AA-3D4298AE825D}"/>
              </a:ext>
            </a:extLst>
          </p:cNvPr>
          <p:cNvSpPr txBox="1"/>
          <p:nvPr/>
        </p:nvSpPr>
        <p:spPr>
          <a:xfrm>
            <a:off x="2338485" y="728684"/>
            <a:ext cx="2181702" cy="369332"/>
          </a:xfrm>
          <a:prstGeom prst="rect">
            <a:avLst/>
          </a:prstGeom>
          <a:noFill/>
        </p:spPr>
        <p:txBody>
          <a:bodyPr wrap="square" rtlCol="0">
            <a:spAutoFit/>
          </a:bodyPr>
          <a:lstStyle/>
          <a:p>
            <a:r>
              <a:rPr lang="en-US" dirty="0"/>
              <a:t>Solution Framing</a:t>
            </a:r>
            <a:endParaRPr lang="en-GB" dirty="0"/>
          </a:p>
        </p:txBody>
      </p:sp>
      <p:pic>
        <p:nvPicPr>
          <p:cNvPr id="29" name="Picture 2" descr="Objective Icon #296077 - Free Icons Library">
            <a:extLst>
              <a:ext uri="{FF2B5EF4-FFF2-40B4-BE49-F238E27FC236}">
                <a16:creationId xmlns:a16="http://schemas.microsoft.com/office/drawing/2014/main" id="{E1A1A10D-9A59-4519-8632-9C84E798749F}"/>
              </a:ext>
            </a:extLst>
          </p:cNvPr>
          <p:cNvPicPr>
            <a:picLocks noChangeAspect="1" noChangeArrowheads="1"/>
          </p:cNvPicPr>
          <p:nvPr/>
        </p:nvPicPr>
        <p:blipFill>
          <a:blip r:embed="rId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91631" y="0"/>
            <a:ext cx="552369" cy="552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1377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a:xfrm>
            <a:off x="486263" y="295074"/>
            <a:ext cx="8141098" cy="507831"/>
          </a:xfrm>
        </p:spPr>
        <p:txBody>
          <a:bodyPr>
            <a:normAutofit/>
          </a:bodyPr>
          <a:lstStyle/>
          <a:p>
            <a:r>
              <a:rPr lang="en-US" sz="2400" dirty="0">
                <a:latin typeface="Open Sans" panose="020B0606030504020204" pitchFamily="34" charset="0"/>
              </a:rPr>
              <a:t>Setting up the solution framework for success</a:t>
            </a:r>
            <a:endParaRPr lang="en-GB" sz="2400" dirty="0">
              <a:latin typeface="Open Sans" panose="020B0606030504020204" pitchFamily="34" charset="0"/>
            </a:endParaRPr>
          </a:p>
        </p:txBody>
      </p:sp>
      <p:grpSp>
        <p:nvGrpSpPr>
          <p:cNvPr id="21" name="Group 20">
            <a:extLst>
              <a:ext uri="{FF2B5EF4-FFF2-40B4-BE49-F238E27FC236}">
                <a16:creationId xmlns:a16="http://schemas.microsoft.com/office/drawing/2014/main" id="{5B2FE791-A4A1-4A9C-B47A-4781BFCB6E37}"/>
              </a:ext>
            </a:extLst>
          </p:cNvPr>
          <p:cNvGrpSpPr/>
          <p:nvPr/>
        </p:nvGrpSpPr>
        <p:grpSpPr>
          <a:xfrm>
            <a:off x="3322633" y="1355631"/>
            <a:ext cx="2682818" cy="2744164"/>
            <a:chOff x="3843668" y="1489889"/>
            <a:chExt cx="3898252" cy="3878221"/>
          </a:xfrm>
        </p:grpSpPr>
        <p:grpSp>
          <p:nvGrpSpPr>
            <p:cNvPr id="22" name="Group 21">
              <a:extLst>
                <a:ext uri="{FF2B5EF4-FFF2-40B4-BE49-F238E27FC236}">
                  <a16:creationId xmlns:a16="http://schemas.microsoft.com/office/drawing/2014/main" id="{6777D42D-7743-4007-9AC9-1A635209CF86}"/>
                </a:ext>
              </a:extLst>
            </p:cNvPr>
            <p:cNvGrpSpPr/>
            <p:nvPr/>
          </p:nvGrpSpPr>
          <p:grpSpPr>
            <a:xfrm>
              <a:off x="3843668" y="1489889"/>
              <a:ext cx="3898252" cy="3878221"/>
              <a:chOff x="3984345" y="1903601"/>
              <a:chExt cx="4229811" cy="4126690"/>
            </a:xfrm>
          </p:grpSpPr>
          <p:sp>
            <p:nvSpPr>
              <p:cNvPr id="32" name="Freeform: Shape 31">
                <a:extLst>
                  <a:ext uri="{FF2B5EF4-FFF2-40B4-BE49-F238E27FC236}">
                    <a16:creationId xmlns:a16="http://schemas.microsoft.com/office/drawing/2014/main" id="{F265F5A0-85C6-4C76-AC00-7AE8E9E4BDD2}"/>
                  </a:ext>
                </a:extLst>
              </p:cNvPr>
              <p:cNvSpPr/>
              <p:nvPr/>
            </p:nvSpPr>
            <p:spPr>
              <a:xfrm>
                <a:off x="3984345" y="4061113"/>
                <a:ext cx="2283968" cy="1969178"/>
              </a:xfrm>
              <a:custGeom>
                <a:avLst/>
                <a:gdLst>
                  <a:gd name="connsiteX0" fmla="*/ 0 w 2283968"/>
                  <a:gd name="connsiteY0" fmla="*/ 984589 h 1969178"/>
                  <a:gd name="connsiteX1" fmla="*/ 492295 w 2283968"/>
                  <a:gd name="connsiteY1" fmla="*/ 0 h 1969178"/>
                  <a:gd name="connsiteX2" fmla="*/ 1791674 w 2283968"/>
                  <a:gd name="connsiteY2" fmla="*/ 0 h 1969178"/>
                  <a:gd name="connsiteX3" fmla="*/ 2283968 w 2283968"/>
                  <a:gd name="connsiteY3" fmla="*/ 984589 h 1969178"/>
                  <a:gd name="connsiteX4" fmla="*/ 1791674 w 2283968"/>
                  <a:gd name="connsiteY4" fmla="*/ 1969178 h 1969178"/>
                  <a:gd name="connsiteX5" fmla="*/ 492295 w 2283968"/>
                  <a:gd name="connsiteY5" fmla="*/ 1969178 h 1969178"/>
                  <a:gd name="connsiteX6" fmla="*/ 0 w 2283968"/>
                  <a:gd name="connsiteY6" fmla="*/ 984589 h 196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3968" h="1969178">
                    <a:moveTo>
                      <a:pt x="0" y="984589"/>
                    </a:moveTo>
                    <a:lnTo>
                      <a:pt x="492295" y="0"/>
                    </a:lnTo>
                    <a:lnTo>
                      <a:pt x="1791674" y="0"/>
                    </a:lnTo>
                    <a:lnTo>
                      <a:pt x="2283968" y="984589"/>
                    </a:lnTo>
                    <a:lnTo>
                      <a:pt x="1791674" y="1969178"/>
                    </a:lnTo>
                    <a:lnTo>
                      <a:pt x="492295" y="1969178"/>
                    </a:lnTo>
                    <a:lnTo>
                      <a:pt x="0" y="984589"/>
                    </a:lnTo>
                    <a:close/>
                  </a:path>
                </a:pathLst>
              </a:custGeom>
              <a:ln/>
            </p:spPr>
            <p:style>
              <a:lnRef idx="2">
                <a:schemeClr val="accent3"/>
              </a:lnRef>
              <a:fillRef idx="1">
                <a:schemeClr val="lt1"/>
              </a:fillRef>
              <a:effectRef idx="0">
                <a:schemeClr val="accent3"/>
              </a:effectRef>
              <a:fontRef idx="minor">
                <a:schemeClr val="dk1"/>
              </a:fontRef>
            </p:style>
            <p:txBody>
              <a:bodyPr spcFirstLastPara="0" vert="horz" wrap="square" lIns="265822" tIns="280619" rIns="265822" bIns="280619" numCol="1" spcCol="1270" anchor="ctr" anchorCtr="0">
                <a:noAutofit/>
              </a:bodyPr>
              <a:lstStyle/>
              <a:p>
                <a:pPr algn="ctr" defTabSz="1800225">
                  <a:lnSpc>
                    <a:spcPct val="90000"/>
                  </a:lnSpc>
                  <a:spcBef>
                    <a:spcPct val="0"/>
                  </a:spcBef>
                  <a:spcAft>
                    <a:spcPct val="35000"/>
                  </a:spcAft>
                </a:pPr>
                <a:endParaRPr lang="en-US" sz="4050"/>
              </a:p>
            </p:txBody>
          </p:sp>
          <p:sp>
            <p:nvSpPr>
              <p:cNvPr id="33" name="Hexagon 32">
                <a:extLst>
                  <a:ext uri="{FF2B5EF4-FFF2-40B4-BE49-F238E27FC236}">
                    <a16:creationId xmlns:a16="http://schemas.microsoft.com/office/drawing/2014/main" id="{3E96A404-A823-4F64-B1E1-73ADD6652E45}"/>
                  </a:ext>
                </a:extLst>
              </p:cNvPr>
              <p:cNvSpPr/>
              <p:nvPr/>
            </p:nvSpPr>
            <p:spPr>
              <a:xfrm>
                <a:off x="4043680" y="4930465"/>
                <a:ext cx="267411" cy="230474"/>
              </a:xfrm>
              <a:prstGeom prst="hexagon">
                <a:avLst>
                  <a:gd name="adj" fmla="val 25000"/>
                  <a:gd name="vf" fmla="val 115470"/>
                </a:avLst>
              </a:prstGeom>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4" name="Freeform: Shape 33">
                <a:extLst>
                  <a:ext uri="{FF2B5EF4-FFF2-40B4-BE49-F238E27FC236}">
                    <a16:creationId xmlns:a16="http://schemas.microsoft.com/office/drawing/2014/main" id="{C4D28BC0-B277-40C8-8E14-4A79602C52B4}"/>
                  </a:ext>
                </a:extLst>
              </p:cNvPr>
              <p:cNvSpPr/>
              <p:nvPr/>
            </p:nvSpPr>
            <p:spPr>
              <a:xfrm>
                <a:off x="5930188" y="2980016"/>
                <a:ext cx="2283968" cy="1969178"/>
              </a:xfrm>
              <a:custGeom>
                <a:avLst/>
                <a:gdLst>
                  <a:gd name="connsiteX0" fmla="*/ 0 w 2283968"/>
                  <a:gd name="connsiteY0" fmla="*/ 984589 h 1969178"/>
                  <a:gd name="connsiteX1" fmla="*/ 492295 w 2283968"/>
                  <a:gd name="connsiteY1" fmla="*/ 0 h 1969178"/>
                  <a:gd name="connsiteX2" fmla="*/ 1791674 w 2283968"/>
                  <a:gd name="connsiteY2" fmla="*/ 0 h 1969178"/>
                  <a:gd name="connsiteX3" fmla="*/ 2283968 w 2283968"/>
                  <a:gd name="connsiteY3" fmla="*/ 984589 h 1969178"/>
                  <a:gd name="connsiteX4" fmla="*/ 1791674 w 2283968"/>
                  <a:gd name="connsiteY4" fmla="*/ 1969178 h 1969178"/>
                  <a:gd name="connsiteX5" fmla="*/ 492295 w 2283968"/>
                  <a:gd name="connsiteY5" fmla="*/ 1969178 h 1969178"/>
                  <a:gd name="connsiteX6" fmla="*/ 0 w 2283968"/>
                  <a:gd name="connsiteY6" fmla="*/ 984589 h 196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3968" h="1969178">
                    <a:moveTo>
                      <a:pt x="0" y="984589"/>
                    </a:moveTo>
                    <a:lnTo>
                      <a:pt x="492295" y="0"/>
                    </a:lnTo>
                    <a:lnTo>
                      <a:pt x="1791674" y="0"/>
                    </a:lnTo>
                    <a:lnTo>
                      <a:pt x="2283968" y="984589"/>
                    </a:lnTo>
                    <a:lnTo>
                      <a:pt x="1791674" y="1969178"/>
                    </a:lnTo>
                    <a:lnTo>
                      <a:pt x="492295" y="1969178"/>
                    </a:lnTo>
                    <a:lnTo>
                      <a:pt x="0" y="984589"/>
                    </a:lnTo>
                    <a:close/>
                  </a:path>
                </a:pathLst>
              </a:custGeom>
              <a:noFill/>
              <a:ln>
                <a:solidFill>
                  <a:schemeClr val="accent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822" tIns="280619" rIns="265822" bIns="280619" numCol="1" spcCol="1270" anchor="ctr" anchorCtr="0">
                <a:noAutofit/>
              </a:bodyPr>
              <a:lstStyle/>
              <a:p>
                <a:pPr algn="ctr" defTabSz="1800225">
                  <a:lnSpc>
                    <a:spcPct val="90000"/>
                  </a:lnSpc>
                  <a:spcBef>
                    <a:spcPct val="0"/>
                  </a:spcBef>
                  <a:spcAft>
                    <a:spcPct val="35000"/>
                  </a:spcAft>
                </a:pPr>
                <a:endParaRPr lang="en-US" sz="4050"/>
              </a:p>
            </p:txBody>
          </p:sp>
          <p:sp>
            <p:nvSpPr>
              <p:cNvPr id="35" name="Hexagon 34">
                <a:extLst>
                  <a:ext uri="{FF2B5EF4-FFF2-40B4-BE49-F238E27FC236}">
                    <a16:creationId xmlns:a16="http://schemas.microsoft.com/office/drawing/2014/main" id="{153178F9-D6DB-41F0-96FD-1ADCAC315B80}"/>
                  </a:ext>
                </a:extLst>
              </p:cNvPr>
              <p:cNvSpPr/>
              <p:nvPr/>
            </p:nvSpPr>
            <p:spPr>
              <a:xfrm>
                <a:off x="7491577" y="4686984"/>
                <a:ext cx="267411" cy="230474"/>
              </a:xfrm>
              <a:prstGeom prst="hexagon">
                <a:avLst>
                  <a:gd name="adj" fmla="val 25000"/>
                  <a:gd name="vf" fmla="val 115470"/>
                </a:avLst>
              </a:prstGeom>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6" name="Freeform: Shape 35">
                <a:extLst>
                  <a:ext uri="{FF2B5EF4-FFF2-40B4-BE49-F238E27FC236}">
                    <a16:creationId xmlns:a16="http://schemas.microsoft.com/office/drawing/2014/main" id="{FC990488-1209-4DC2-98C4-04BC68F11758}"/>
                  </a:ext>
                </a:extLst>
              </p:cNvPr>
              <p:cNvSpPr/>
              <p:nvPr/>
            </p:nvSpPr>
            <p:spPr>
              <a:xfrm>
                <a:off x="3984345" y="1903601"/>
                <a:ext cx="2283968" cy="1969178"/>
              </a:xfrm>
              <a:custGeom>
                <a:avLst/>
                <a:gdLst>
                  <a:gd name="connsiteX0" fmla="*/ 0 w 2283968"/>
                  <a:gd name="connsiteY0" fmla="*/ 984589 h 1969178"/>
                  <a:gd name="connsiteX1" fmla="*/ 492295 w 2283968"/>
                  <a:gd name="connsiteY1" fmla="*/ 0 h 1969178"/>
                  <a:gd name="connsiteX2" fmla="*/ 1791674 w 2283968"/>
                  <a:gd name="connsiteY2" fmla="*/ 0 h 1969178"/>
                  <a:gd name="connsiteX3" fmla="*/ 2283968 w 2283968"/>
                  <a:gd name="connsiteY3" fmla="*/ 984589 h 1969178"/>
                  <a:gd name="connsiteX4" fmla="*/ 1791674 w 2283968"/>
                  <a:gd name="connsiteY4" fmla="*/ 1969178 h 1969178"/>
                  <a:gd name="connsiteX5" fmla="*/ 492295 w 2283968"/>
                  <a:gd name="connsiteY5" fmla="*/ 1969178 h 1969178"/>
                  <a:gd name="connsiteX6" fmla="*/ 0 w 2283968"/>
                  <a:gd name="connsiteY6" fmla="*/ 984589 h 196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3968" h="1969178">
                    <a:moveTo>
                      <a:pt x="0" y="984589"/>
                    </a:moveTo>
                    <a:lnTo>
                      <a:pt x="492295" y="0"/>
                    </a:lnTo>
                    <a:lnTo>
                      <a:pt x="1791674" y="0"/>
                    </a:lnTo>
                    <a:lnTo>
                      <a:pt x="2283968" y="984589"/>
                    </a:lnTo>
                    <a:lnTo>
                      <a:pt x="1791674" y="1969178"/>
                    </a:lnTo>
                    <a:lnTo>
                      <a:pt x="492295" y="1969178"/>
                    </a:lnTo>
                    <a:lnTo>
                      <a:pt x="0" y="984589"/>
                    </a:lnTo>
                    <a:close/>
                  </a:path>
                </a:pathLst>
              </a:custGeom>
              <a:noFill/>
              <a:ln>
                <a:solidFill>
                  <a:schemeClr val="accent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5822" tIns="280619" rIns="265822" bIns="280619" numCol="1" spcCol="1270" anchor="ctr" anchorCtr="0">
                <a:noAutofit/>
              </a:bodyPr>
              <a:lstStyle/>
              <a:p>
                <a:pPr algn="ctr" defTabSz="1800225">
                  <a:lnSpc>
                    <a:spcPct val="90000"/>
                  </a:lnSpc>
                  <a:spcBef>
                    <a:spcPct val="0"/>
                  </a:spcBef>
                  <a:spcAft>
                    <a:spcPct val="35000"/>
                  </a:spcAft>
                </a:pPr>
                <a:endParaRPr lang="en-US" sz="4050" dirty="0"/>
              </a:p>
            </p:txBody>
          </p:sp>
          <p:sp>
            <p:nvSpPr>
              <p:cNvPr id="37" name="Hexagon 36">
                <a:extLst>
                  <a:ext uri="{FF2B5EF4-FFF2-40B4-BE49-F238E27FC236}">
                    <a16:creationId xmlns:a16="http://schemas.microsoft.com/office/drawing/2014/main" id="{3C13AD08-6C9F-4A06-A71D-925928253EA1}"/>
                  </a:ext>
                </a:extLst>
              </p:cNvPr>
              <p:cNvSpPr/>
              <p:nvPr/>
            </p:nvSpPr>
            <p:spPr>
              <a:xfrm>
                <a:off x="5532729" y="1946262"/>
                <a:ext cx="267411" cy="230474"/>
              </a:xfrm>
              <a:prstGeom prst="hexagon">
                <a:avLst>
                  <a:gd name="adj" fmla="val 25000"/>
                  <a:gd name="vf" fmla="val 115470"/>
                </a:avLst>
              </a:prstGeom>
              <a:ln>
                <a:no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sp>
          <p:nvSpPr>
            <p:cNvPr id="25" name="TextBox 24">
              <a:extLst>
                <a:ext uri="{FF2B5EF4-FFF2-40B4-BE49-F238E27FC236}">
                  <a16:creationId xmlns:a16="http://schemas.microsoft.com/office/drawing/2014/main" id="{2D3CE40F-9055-420D-8A54-C488BCC3573F}"/>
                </a:ext>
              </a:extLst>
            </p:cNvPr>
            <p:cNvSpPr txBox="1"/>
            <p:nvPr/>
          </p:nvSpPr>
          <p:spPr>
            <a:xfrm>
              <a:off x="4094614" y="2277172"/>
              <a:ext cx="1603041" cy="652453"/>
            </a:xfrm>
            <a:prstGeom prst="rect">
              <a:avLst/>
            </a:prstGeom>
            <a:noFill/>
          </p:spPr>
          <p:txBody>
            <a:bodyPr wrap="square" rtlCol="0">
              <a:spAutoFit/>
            </a:bodyPr>
            <a:lstStyle/>
            <a:p>
              <a:pPr algn="ctr"/>
              <a:r>
                <a:rPr lang="en-US" sz="1200" b="1" dirty="0"/>
                <a:t>Volume-Price Equation</a:t>
              </a:r>
            </a:p>
          </p:txBody>
        </p:sp>
        <p:sp>
          <p:nvSpPr>
            <p:cNvPr id="28" name="TextBox 27">
              <a:extLst>
                <a:ext uri="{FF2B5EF4-FFF2-40B4-BE49-F238E27FC236}">
                  <a16:creationId xmlns:a16="http://schemas.microsoft.com/office/drawing/2014/main" id="{0F23C347-446D-48BE-8E0F-36827D619603}"/>
                </a:ext>
              </a:extLst>
            </p:cNvPr>
            <p:cNvSpPr txBox="1"/>
            <p:nvPr/>
          </p:nvSpPr>
          <p:spPr>
            <a:xfrm>
              <a:off x="4222359" y="4396599"/>
              <a:ext cx="1414625" cy="652453"/>
            </a:xfrm>
            <a:prstGeom prst="rect">
              <a:avLst/>
            </a:prstGeom>
            <a:noFill/>
          </p:spPr>
          <p:txBody>
            <a:bodyPr wrap="square" rtlCol="0">
              <a:spAutoFit/>
            </a:bodyPr>
            <a:lstStyle/>
            <a:p>
              <a:pPr algn="ctr"/>
              <a:r>
                <a:rPr lang="en-US" sz="1200" b="1" dirty="0"/>
                <a:t>Sales Forecasting</a:t>
              </a:r>
            </a:p>
          </p:txBody>
        </p:sp>
        <p:sp>
          <p:nvSpPr>
            <p:cNvPr id="31" name="TextBox 30">
              <a:extLst>
                <a:ext uri="{FF2B5EF4-FFF2-40B4-BE49-F238E27FC236}">
                  <a16:creationId xmlns:a16="http://schemas.microsoft.com/office/drawing/2014/main" id="{BC1B89A8-B59D-4555-8594-53F58378AE24}"/>
                </a:ext>
              </a:extLst>
            </p:cNvPr>
            <p:cNvSpPr txBox="1"/>
            <p:nvPr/>
          </p:nvSpPr>
          <p:spPr>
            <a:xfrm>
              <a:off x="5930484" y="3728807"/>
              <a:ext cx="1517934" cy="391472"/>
            </a:xfrm>
            <a:prstGeom prst="rect">
              <a:avLst/>
            </a:prstGeom>
            <a:noFill/>
          </p:spPr>
          <p:txBody>
            <a:bodyPr wrap="square" rtlCol="0">
              <a:spAutoFit/>
            </a:bodyPr>
            <a:lstStyle/>
            <a:p>
              <a:pPr algn="ctr"/>
              <a:r>
                <a:rPr lang="en-US" sz="1200" b="1" dirty="0"/>
                <a:t>Optimization</a:t>
              </a:r>
            </a:p>
          </p:txBody>
        </p:sp>
      </p:grpSp>
      <p:sp>
        <p:nvSpPr>
          <p:cNvPr id="38" name="TextBox 37">
            <a:extLst>
              <a:ext uri="{FF2B5EF4-FFF2-40B4-BE49-F238E27FC236}">
                <a16:creationId xmlns:a16="http://schemas.microsoft.com/office/drawing/2014/main" id="{42AB2588-0753-47F6-828C-8877651D9BD3}"/>
              </a:ext>
            </a:extLst>
          </p:cNvPr>
          <p:cNvSpPr txBox="1"/>
          <p:nvPr/>
        </p:nvSpPr>
        <p:spPr>
          <a:xfrm>
            <a:off x="170916" y="782091"/>
            <a:ext cx="3166551" cy="2031325"/>
          </a:xfrm>
          <a:prstGeom prst="rect">
            <a:avLst/>
          </a:prstGeom>
          <a:solidFill>
            <a:schemeClr val="bg1">
              <a:lumMod val="95000"/>
            </a:schemeClr>
          </a:solidFill>
          <a:ln>
            <a:solidFill>
              <a:schemeClr val="accent1"/>
            </a:solidFill>
            <a:prstDash val="dash"/>
          </a:ln>
          <a:effectLst>
            <a:softEdge rad="127000"/>
          </a:effectLst>
        </p:spPr>
        <p:txBody>
          <a:bodyPr wrap="square" rtlCol="0">
            <a:spAutoFit/>
          </a:bodyPr>
          <a:lstStyle>
            <a:defPPr>
              <a:defRPr lang="en-US"/>
            </a:defPPr>
            <a:lvl1pPr marL="285750" indent="-285750">
              <a:buFont typeface="Arial" panose="020B0604020202020204" pitchFamily="34" charset="0"/>
              <a:buChar char="•"/>
              <a:defRPr sz="1400"/>
            </a:lvl1pPr>
          </a:lstStyle>
          <a:p>
            <a:pPr marL="0" indent="0" algn="ctr">
              <a:buNone/>
            </a:pPr>
            <a:r>
              <a:rPr lang="en-US" sz="1050" b="1" i="1" dirty="0">
                <a:solidFill>
                  <a:srgbClr val="098BCB"/>
                </a:solidFill>
              </a:rPr>
              <a:t>Estimate an equation between Sales Volume and Price for each  Product at weekly level.</a:t>
            </a:r>
          </a:p>
          <a:p>
            <a:pPr marL="0" indent="0" algn="ctr">
              <a:buNone/>
            </a:pPr>
            <a:r>
              <a:rPr lang="en-US" sz="1050" b="1" i="1" dirty="0">
                <a:solidFill>
                  <a:srgbClr val="098BCB"/>
                </a:solidFill>
              </a:rPr>
              <a:t>Both Sales Volume and Price is dynamic and depend on each other. Very high price will reduce the sales  and very low price will reduce the gross profit. </a:t>
            </a:r>
          </a:p>
          <a:p>
            <a:endParaRPr lang="en-IN" sz="1050" dirty="0"/>
          </a:p>
          <a:p>
            <a:pPr marL="0" indent="0">
              <a:buNone/>
            </a:pPr>
            <a:r>
              <a:rPr lang="en-IN" sz="1050" dirty="0">
                <a:solidFill>
                  <a:srgbClr val="888888"/>
                </a:solidFill>
              </a:rPr>
              <a:t>Factors considered: </a:t>
            </a:r>
          </a:p>
          <a:p>
            <a:r>
              <a:rPr lang="en-IN" sz="1050" dirty="0">
                <a:solidFill>
                  <a:srgbClr val="888888"/>
                </a:solidFill>
              </a:rPr>
              <a:t>Current Price, Previous Price, Original Price</a:t>
            </a:r>
          </a:p>
          <a:p>
            <a:r>
              <a:rPr lang="en-IN" sz="1050" dirty="0">
                <a:solidFill>
                  <a:srgbClr val="888888"/>
                </a:solidFill>
              </a:rPr>
              <a:t>Cost</a:t>
            </a:r>
          </a:p>
          <a:p>
            <a:r>
              <a:rPr lang="en-IN" sz="1050" dirty="0">
                <a:solidFill>
                  <a:srgbClr val="888888"/>
                </a:solidFill>
              </a:rPr>
              <a:t>Cyclic temporal Features, Week, Month, Quarter</a:t>
            </a:r>
          </a:p>
          <a:p>
            <a:r>
              <a:rPr lang="en-IN" sz="1050" dirty="0">
                <a:solidFill>
                  <a:srgbClr val="888888"/>
                </a:solidFill>
              </a:rPr>
              <a:t>Country Dynamics</a:t>
            </a:r>
          </a:p>
          <a:p>
            <a:r>
              <a:rPr lang="en-IN" sz="1050" dirty="0">
                <a:solidFill>
                  <a:srgbClr val="888888"/>
                </a:solidFill>
              </a:rPr>
              <a:t>Channel Dynamics</a:t>
            </a:r>
          </a:p>
        </p:txBody>
      </p:sp>
      <p:sp>
        <p:nvSpPr>
          <p:cNvPr id="39" name="TextBox 38">
            <a:extLst>
              <a:ext uri="{FF2B5EF4-FFF2-40B4-BE49-F238E27FC236}">
                <a16:creationId xmlns:a16="http://schemas.microsoft.com/office/drawing/2014/main" id="{D81469B9-1EA1-4365-9AB5-790038F2F524}"/>
              </a:ext>
            </a:extLst>
          </p:cNvPr>
          <p:cNvSpPr txBox="1"/>
          <p:nvPr/>
        </p:nvSpPr>
        <p:spPr>
          <a:xfrm>
            <a:off x="188934" y="3199277"/>
            <a:ext cx="3115682" cy="1546577"/>
          </a:xfrm>
          <a:prstGeom prst="rect">
            <a:avLst/>
          </a:prstGeom>
          <a:solidFill>
            <a:schemeClr val="bg1">
              <a:lumMod val="95000"/>
            </a:schemeClr>
          </a:solidFill>
          <a:ln>
            <a:solidFill>
              <a:schemeClr val="accent1"/>
            </a:solidFill>
            <a:prstDash val="dash"/>
          </a:ln>
          <a:effectLst>
            <a:softEdge rad="127000"/>
          </a:effectLst>
        </p:spPr>
        <p:txBody>
          <a:bodyPr wrap="square" rtlCol="0">
            <a:spAutoFit/>
          </a:bodyPr>
          <a:lstStyle>
            <a:defPPr>
              <a:defRPr lang="en-US"/>
            </a:defPPr>
            <a:lvl1pPr marL="285750" indent="-285750">
              <a:buFont typeface="Arial" panose="020B0604020202020204" pitchFamily="34" charset="0"/>
              <a:buChar char="•"/>
              <a:defRPr sz="1400"/>
            </a:lvl1pPr>
          </a:lstStyle>
          <a:p>
            <a:pPr marL="0" indent="0" algn="ctr">
              <a:buNone/>
            </a:pPr>
            <a:r>
              <a:rPr lang="en-US" sz="1050" b="1" i="1" dirty="0">
                <a:solidFill>
                  <a:srgbClr val="FF0000"/>
                </a:solidFill>
              </a:rPr>
              <a:t>Forecast Sales for each Product at weekly level using historical Demand data using Machine Learning </a:t>
            </a:r>
          </a:p>
          <a:p>
            <a:pPr marL="0" indent="0">
              <a:buNone/>
            </a:pPr>
            <a:r>
              <a:rPr lang="en-IN" sz="1050" dirty="0">
                <a:solidFill>
                  <a:srgbClr val="888888"/>
                </a:solidFill>
              </a:rPr>
              <a:t>Factors to be considered:</a:t>
            </a:r>
          </a:p>
          <a:p>
            <a:r>
              <a:rPr lang="en-IN" sz="1050" dirty="0">
                <a:solidFill>
                  <a:srgbClr val="888888"/>
                </a:solidFill>
              </a:rPr>
              <a:t>Lags of Sales</a:t>
            </a:r>
          </a:p>
          <a:p>
            <a:r>
              <a:rPr lang="en-IN" sz="1050" dirty="0">
                <a:solidFill>
                  <a:srgbClr val="888888"/>
                </a:solidFill>
              </a:rPr>
              <a:t>Mean Encoding</a:t>
            </a:r>
          </a:p>
          <a:p>
            <a:r>
              <a:rPr lang="en-IN" sz="1050" dirty="0">
                <a:solidFill>
                  <a:srgbClr val="888888"/>
                </a:solidFill>
              </a:rPr>
              <a:t>Weighted Past Sales</a:t>
            </a:r>
          </a:p>
          <a:p>
            <a:r>
              <a:rPr lang="en-IN" sz="1050" dirty="0">
                <a:solidFill>
                  <a:srgbClr val="888888"/>
                </a:solidFill>
              </a:rPr>
              <a:t>Price Trends</a:t>
            </a:r>
          </a:p>
          <a:p>
            <a:r>
              <a:rPr lang="en-IN" sz="1050" dirty="0">
                <a:solidFill>
                  <a:srgbClr val="888888"/>
                </a:solidFill>
              </a:rPr>
              <a:t>Product Hierarchies</a:t>
            </a:r>
          </a:p>
          <a:p>
            <a:r>
              <a:rPr lang="en-IN" sz="1050" dirty="0">
                <a:solidFill>
                  <a:srgbClr val="888888"/>
                </a:solidFill>
              </a:rPr>
              <a:t>Cyclic temporal Features, Week, Month, Quarter</a:t>
            </a:r>
          </a:p>
        </p:txBody>
      </p:sp>
      <p:sp>
        <p:nvSpPr>
          <p:cNvPr id="40" name="TextBox 39">
            <a:extLst>
              <a:ext uri="{FF2B5EF4-FFF2-40B4-BE49-F238E27FC236}">
                <a16:creationId xmlns:a16="http://schemas.microsoft.com/office/drawing/2014/main" id="{767632B0-1152-4911-B1CA-DA3D4EF1B15C}"/>
              </a:ext>
            </a:extLst>
          </p:cNvPr>
          <p:cNvSpPr txBox="1"/>
          <p:nvPr/>
        </p:nvSpPr>
        <p:spPr>
          <a:xfrm>
            <a:off x="6039855" y="1325255"/>
            <a:ext cx="2970113" cy="2262158"/>
          </a:xfrm>
          <a:prstGeom prst="rect">
            <a:avLst/>
          </a:prstGeom>
          <a:solidFill>
            <a:schemeClr val="bg1">
              <a:lumMod val="95000"/>
            </a:schemeClr>
          </a:solidFill>
          <a:ln>
            <a:solidFill>
              <a:schemeClr val="tx1"/>
            </a:solidFill>
            <a:prstDash val="dash"/>
          </a:ln>
          <a:effectLst>
            <a:softEdge rad="127000"/>
          </a:effectLst>
        </p:spPr>
        <p:txBody>
          <a:bodyPr wrap="square" rtlCol="0">
            <a:spAutoFit/>
          </a:bodyPr>
          <a:lstStyle>
            <a:defPPr>
              <a:defRPr lang="en-US"/>
            </a:defPPr>
            <a:lvl1pPr marL="285750" indent="-285750">
              <a:buFont typeface="Arial" panose="020B0604020202020204" pitchFamily="34" charset="0"/>
              <a:buChar char="•"/>
              <a:defRPr sz="1400"/>
            </a:lvl1pPr>
          </a:lstStyle>
          <a:p>
            <a:pPr marL="134541" indent="-134541" algn="ctr">
              <a:defRPr/>
            </a:pPr>
            <a:endParaRPr lang="en-US" sz="1200" dirty="0">
              <a:solidFill>
                <a:schemeClr val="tx1">
                  <a:lumMod val="75000"/>
                </a:schemeClr>
              </a:solidFill>
            </a:endParaRPr>
          </a:p>
          <a:p>
            <a:pPr marL="0" indent="0" algn="ctr">
              <a:buNone/>
            </a:pPr>
            <a:r>
              <a:rPr lang="en-IN" sz="1200" b="1" i="1" dirty="0">
                <a:solidFill>
                  <a:schemeClr val="accent1"/>
                </a:solidFill>
              </a:rPr>
              <a:t>Optimizing Current Selling price w.r.t Sales Forecast</a:t>
            </a:r>
          </a:p>
          <a:p>
            <a:endParaRPr lang="en-IN" sz="1050" dirty="0"/>
          </a:p>
          <a:p>
            <a:pPr marL="0" indent="0">
              <a:buNone/>
            </a:pPr>
            <a:r>
              <a:rPr lang="en-IN" sz="1050" dirty="0">
                <a:solidFill>
                  <a:srgbClr val="888888"/>
                </a:solidFill>
              </a:rPr>
              <a:t>Constraints to be considered:</a:t>
            </a:r>
          </a:p>
          <a:p>
            <a:r>
              <a:rPr lang="en-IN" sz="1050" dirty="0">
                <a:solidFill>
                  <a:srgbClr val="888888"/>
                </a:solidFill>
              </a:rPr>
              <a:t>Volume between 100-130% of Forecasted Volume</a:t>
            </a:r>
          </a:p>
          <a:p>
            <a:r>
              <a:rPr lang="en-IN" sz="1050" dirty="0">
                <a:solidFill>
                  <a:srgbClr val="888888"/>
                </a:solidFill>
              </a:rPr>
              <a:t>Current Selling price Between Cost to Original Selling Price</a:t>
            </a:r>
          </a:p>
          <a:p>
            <a:r>
              <a:rPr lang="en-IN" sz="1050" dirty="0">
                <a:solidFill>
                  <a:srgbClr val="888888"/>
                </a:solidFill>
              </a:rPr>
              <a:t>Optimize the Total Revenue</a:t>
            </a:r>
          </a:p>
          <a:p>
            <a:r>
              <a:rPr lang="en-US" sz="1050" dirty="0">
                <a:solidFill>
                  <a:srgbClr val="888888"/>
                </a:solidFill>
              </a:rPr>
              <a:t>Recommend Weekly price based on forecasted sales for 13 future weeks</a:t>
            </a:r>
            <a:endParaRPr lang="en-IN" sz="1050" dirty="0">
              <a:solidFill>
                <a:srgbClr val="888888"/>
              </a:solidFill>
            </a:endParaRPr>
          </a:p>
          <a:p>
            <a:pPr lvl="1" indent="-89297">
              <a:buFont typeface="Arial" panose="020B0604020202020204" pitchFamily="34" charset="0"/>
              <a:buChar char="•"/>
              <a:defRPr/>
            </a:pPr>
            <a:endParaRPr lang="en-US" sz="1050" dirty="0">
              <a:solidFill>
                <a:schemeClr val="tx1">
                  <a:lumMod val="75000"/>
                </a:schemeClr>
              </a:solidFill>
            </a:endParaRPr>
          </a:p>
        </p:txBody>
      </p:sp>
      <p:pic>
        <p:nvPicPr>
          <p:cNvPr id="64" name="Picture 10" descr="Simulation - Free communications icons">
            <a:extLst>
              <a:ext uri="{FF2B5EF4-FFF2-40B4-BE49-F238E27FC236}">
                <a16:creationId xmlns:a16="http://schemas.microsoft.com/office/drawing/2014/main" id="{F67353E1-90FB-42A9-A5D5-85B448AB031B}"/>
              </a:ext>
            </a:extLst>
          </p:cNvPr>
          <p:cNvPicPr>
            <a:picLocks noChangeAspect="1" noChangeArrowheads="1"/>
          </p:cNvPicPr>
          <p:nvPr/>
        </p:nvPicPr>
        <p:blipFill>
          <a:blip r:embed="rId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40618" y="2892022"/>
            <a:ext cx="570913" cy="570913"/>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2" descr="Mobile options, options, touch options, touch sensitivity icon - Download  on Iconfinder">
            <a:extLst>
              <a:ext uri="{FF2B5EF4-FFF2-40B4-BE49-F238E27FC236}">
                <a16:creationId xmlns:a16="http://schemas.microsoft.com/office/drawing/2014/main" id="{0B9112B8-5C85-457B-906E-585635816269}"/>
              </a:ext>
            </a:extLst>
          </p:cNvPr>
          <p:cNvPicPr>
            <a:picLocks noChangeAspect="1" noChangeArrowheads="1"/>
          </p:cNvPicPr>
          <p:nvPr/>
        </p:nvPicPr>
        <p:blipFill>
          <a:blip r:embed="rId3">
            <a:clrChange>
              <a:clrFrom>
                <a:srgbClr val="FEFEFE"/>
              </a:clrFrom>
              <a:clrTo>
                <a:srgbClr val="FEFEFE">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4870083" y="2193228"/>
            <a:ext cx="730807" cy="64263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Formula FX icon PNG and SVG Vector Free Download">
            <a:extLst>
              <a:ext uri="{FF2B5EF4-FFF2-40B4-BE49-F238E27FC236}">
                <a16:creationId xmlns:a16="http://schemas.microsoft.com/office/drawing/2014/main" id="{799B4574-5312-4DF2-8AA2-F9A60CFD642E}"/>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92522" y="1403384"/>
            <a:ext cx="489443" cy="49162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Objective Icon #296077 - Free Icons Library">
            <a:extLst>
              <a:ext uri="{FF2B5EF4-FFF2-40B4-BE49-F238E27FC236}">
                <a16:creationId xmlns:a16="http://schemas.microsoft.com/office/drawing/2014/main" id="{2632BF97-3C96-443D-A924-40BB491A1682}"/>
              </a:ext>
            </a:extLst>
          </p:cNvPr>
          <p:cNvPicPr>
            <a:picLocks noChangeAspect="1" noChangeArrowheads="1"/>
          </p:cNvPicPr>
          <p:nvPr/>
        </p:nvPicPr>
        <p:blipFill>
          <a:blip r:embed="rId5">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91631" y="0"/>
            <a:ext cx="552369" cy="552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29702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2028FE-FC7A-4899-B507-56DA4CB7B763}"/>
              </a:ext>
            </a:extLst>
          </p:cNvPr>
          <p:cNvSpPr>
            <a:spLocks noGrp="1"/>
          </p:cNvSpPr>
          <p:nvPr>
            <p:ph type="body" sz="quarter" idx="12"/>
          </p:nvPr>
        </p:nvSpPr>
        <p:spPr/>
        <p:txBody>
          <a:bodyPr/>
          <a:lstStyle/>
          <a:p>
            <a:r>
              <a:rPr lang="en-IN" dirty="0"/>
              <a:t>|B</a:t>
            </a:r>
          </a:p>
        </p:txBody>
      </p:sp>
      <p:sp>
        <p:nvSpPr>
          <p:cNvPr id="3" name="Title 2">
            <a:extLst>
              <a:ext uri="{FF2B5EF4-FFF2-40B4-BE49-F238E27FC236}">
                <a16:creationId xmlns:a16="http://schemas.microsoft.com/office/drawing/2014/main" id="{2548CBD9-BE72-4CF0-B14F-11EBDD5687BA}"/>
              </a:ext>
            </a:extLst>
          </p:cNvPr>
          <p:cNvSpPr>
            <a:spLocks noGrp="1"/>
          </p:cNvSpPr>
          <p:nvPr>
            <p:ph type="title"/>
          </p:nvPr>
        </p:nvSpPr>
        <p:spPr>
          <a:xfrm>
            <a:off x="1711810" y="3548042"/>
            <a:ext cx="7163076" cy="653256"/>
          </a:xfrm>
        </p:spPr>
        <p:txBody>
          <a:bodyPr/>
          <a:lstStyle/>
          <a:p>
            <a:r>
              <a:rPr lang="en-IN" sz="4050" dirty="0"/>
              <a:t>INSIGHTS</a:t>
            </a:r>
          </a:p>
        </p:txBody>
      </p:sp>
      <p:pic>
        <p:nvPicPr>
          <p:cNvPr id="5" name="Picture 4" descr="insights-icon - GeoPoll">
            <a:extLst>
              <a:ext uri="{FF2B5EF4-FFF2-40B4-BE49-F238E27FC236}">
                <a16:creationId xmlns:a16="http://schemas.microsoft.com/office/drawing/2014/main" id="{EA921F57-0553-4076-B54E-64F8E40CA32A}"/>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8287" y="0"/>
            <a:ext cx="778960" cy="7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5430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7"/>
          <p:cNvGrpSpPr/>
          <p:nvPr/>
        </p:nvGrpSpPr>
        <p:grpSpPr>
          <a:xfrm>
            <a:off x="14748" y="1137145"/>
            <a:ext cx="1974383" cy="2954790"/>
            <a:chOff x="457200" y="1915960"/>
            <a:chExt cx="3060428" cy="4019505"/>
          </a:xfrm>
        </p:grpSpPr>
        <p:sp>
          <p:nvSpPr>
            <p:cNvPr id="4" name="Rectangle 3"/>
            <p:cNvSpPr/>
            <p:nvPr/>
          </p:nvSpPr>
          <p:spPr bwMode="auto">
            <a:xfrm>
              <a:off x="457200" y="2417765"/>
              <a:ext cx="2816353" cy="2836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72055" bIns="36028" numCol="1" spcCol="0" rtlCol="0" fromWordArt="0" anchor="t" anchorCtr="0" forceAA="0" compatLnSpc="1">
              <a:prstTxWarp prst="textNoShape">
                <a:avLst/>
              </a:prstTxWarp>
              <a:spAutoFit/>
            </a:bodyPr>
            <a:lstStyle/>
            <a:p>
              <a:pPr defTabSz="575855"/>
              <a:r>
                <a:rPr lang="en-US" sz="882" dirty="0">
                  <a:solidFill>
                    <a:srgbClr val="FFFFFF"/>
                  </a:solidFill>
                  <a:latin typeface="Segoe Semibold" panose="020B0702040504020203" pitchFamily="34" charset="0"/>
                </a:rPr>
                <a:t>Region</a:t>
              </a:r>
            </a:p>
          </p:txBody>
        </p:sp>
        <p:sp>
          <p:nvSpPr>
            <p:cNvPr id="12" name="Rectangle 11"/>
            <p:cNvSpPr/>
            <p:nvPr/>
          </p:nvSpPr>
          <p:spPr bwMode="auto">
            <a:xfrm>
              <a:off x="701277" y="1915960"/>
              <a:ext cx="2816351" cy="329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72055" bIns="36028" numCol="1" spcCol="0" rtlCol="0" fromWordArt="0" anchor="t" anchorCtr="0" forceAA="0" compatLnSpc="1">
              <a:prstTxWarp prst="textNoShape">
                <a:avLst/>
              </a:prstTxWarp>
              <a:spAutoFit/>
            </a:bodyPr>
            <a:lstStyle/>
            <a:p>
              <a:pPr marL="316570" defTabSz="564345" fontAlgn="base">
                <a:spcBef>
                  <a:spcPct val="0"/>
                </a:spcBef>
                <a:defRPr/>
              </a:pPr>
              <a:r>
                <a:rPr lang="en-US" sz="1103" dirty="0">
                  <a:solidFill>
                    <a:srgbClr val="0072C6"/>
                  </a:solidFill>
                  <a:ea typeface="Segoe UI" panose="020B0502040204020203" pitchFamily="34" charset="0"/>
                  <a:cs typeface="Segoe UI" panose="020B0502040204020203" pitchFamily="34" charset="0"/>
                </a:rPr>
                <a:t>Where ?</a:t>
              </a:r>
            </a:p>
          </p:txBody>
        </p:sp>
        <p:sp>
          <p:nvSpPr>
            <p:cNvPr id="13" name="Rectangle 12"/>
            <p:cNvSpPr/>
            <p:nvPr/>
          </p:nvSpPr>
          <p:spPr bwMode="auto">
            <a:xfrm>
              <a:off x="457200" y="2725542"/>
              <a:ext cx="2816353" cy="32099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36028" bIns="36028" numCol="1" spcCol="0" rtlCol="0" fromWordArt="0" anchor="t" anchorCtr="0" forceAA="0" compatLnSpc="1">
              <a:prstTxWarp prst="textNoShape">
                <a:avLst/>
              </a:prstTxWarp>
              <a:noAutofit/>
            </a:bodyPr>
            <a:lstStyle/>
            <a:p>
              <a:pPr marL="356169" indent="-285750" defTabSz="575855">
                <a:spcAft>
                  <a:spcPts val="62"/>
                </a:spcAft>
                <a:buFont typeface="Arial" panose="020B0604020202020204" pitchFamily="34" charset="0"/>
                <a:buChar char="•"/>
                <a:defRPr/>
              </a:pPr>
              <a:r>
                <a:rPr lang="en-US" sz="1471" dirty="0">
                  <a:solidFill>
                    <a:srgbClr val="0072C6"/>
                  </a:solidFill>
                </a:rPr>
                <a:t>95% of the Sales are accounted by Stores</a:t>
              </a:r>
            </a:p>
            <a:p>
              <a:pPr marL="70419" defTabSz="575855">
                <a:spcAft>
                  <a:spcPts val="62"/>
                </a:spcAft>
                <a:defRPr/>
              </a:pPr>
              <a:endParaRPr lang="en-US" sz="1471" dirty="0">
                <a:solidFill>
                  <a:srgbClr val="0072C6"/>
                </a:solidFill>
              </a:endParaRPr>
            </a:p>
            <a:p>
              <a:pPr marL="70419" defTabSz="575855">
                <a:spcAft>
                  <a:spcPts val="62"/>
                </a:spcAft>
                <a:defRPr/>
              </a:pPr>
              <a:endParaRPr lang="en-US" sz="1471" dirty="0">
                <a:solidFill>
                  <a:srgbClr val="0072C6"/>
                </a:solidFill>
              </a:endParaRPr>
            </a:p>
            <a:p>
              <a:pPr marL="356169" indent="-285750" defTabSz="575855">
                <a:spcAft>
                  <a:spcPts val="62"/>
                </a:spcAft>
                <a:buFont typeface="Arial" panose="020B0604020202020204" pitchFamily="34" charset="0"/>
                <a:buChar char="•"/>
                <a:defRPr/>
              </a:pPr>
              <a:r>
                <a:rPr lang="en-IN" sz="1471" dirty="0">
                  <a:solidFill>
                    <a:srgbClr val="0072C6"/>
                  </a:solidFill>
                </a:rPr>
                <a:t>94% of Sales Volume are by Country B</a:t>
              </a:r>
            </a:p>
          </p:txBody>
        </p:sp>
      </p:grpSp>
      <p:graphicFrame>
        <p:nvGraphicFramePr>
          <p:cNvPr id="2" name="Object 1" hidden="1"/>
          <p:cNvGraphicFramePr>
            <a:graphicFrameLocks noChangeAspect="1"/>
          </p:cNvGraphicFramePr>
          <p:nvPr>
            <p:custDataLst>
              <p:tags r:id="rId1"/>
            </p:custDataLst>
          </p:nvPr>
        </p:nvGraphicFramePr>
        <p:xfrm>
          <a:off x="1171" y="2036"/>
          <a:ext cx="1168" cy="116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1" y="2036"/>
                        <a:ext cx="1168"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8"/>
          <p:cNvGrpSpPr/>
          <p:nvPr/>
        </p:nvGrpSpPr>
        <p:grpSpPr>
          <a:xfrm>
            <a:off x="1836674" y="1142498"/>
            <a:ext cx="1816921" cy="2968778"/>
            <a:chOff x="3363116" y="1911617"/>
            <a:chExt cx="2816352" cy="4038531"/>
          </a:xfrm>
        </p:grpSpPr>
        <p:sp>
          <p:nvSpPr>
            <p:cNvPr id="18" name="Rectangle 17"/>
            <p:cNvSpPr/>
            <p:nvPr/>
          </p:nvSpPr>
          <p:spPr bwMode="auto">
            <a:xfrm>
              <a:off x="3363116" y="2417764"/>
              <a:ext cx="2816352" cy="28363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72055" bIns="36028" numCol="1" spcCol="0" rtlCol="0" fromWordArt="0" anchor="t" anchorCtr="0" forceAA="0" compatLnSpc="1">
              <a:prstTxWarp prst="textNoShape">
                <a:avLst/>
              </a:prstTxWarp>
              <a:spAutoFit/>
            </a:bodyPr>
            <a:lstStyle/>
            <a:p>
              <a:pPr defTabSz="575855"/>
              <a:r>
                <a:rPr lang="en-US" sz="882" dirty="0">
                  <a:solidFill>
                    <a:srgbClr val="FFFFFF"/>
                  </a:solidFill>
                  <a:latin typeface="Segoe Semibold" panose="020B0702040504020203" pitchFamily="34" charset="0"/>
                </a:rPr>
                <a:t>Products</a:t>
              </a:r>
            </a:p>
          </p:txBody>
        </p:sp>
        <p:sp>
          <p:nvSpPr>
            <p:cNvPr id="19" name="Rectangle 18"/>
            <p:cNvSpPr/>
            <p:nvPr/>
          </p:nvSpPr>
          <p:spPr bwMode="auto">
            <a:xfrm>
              <a:off x="3695801" y="1911617"/>
              <a:ext cx="1840785" cy="329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165" tIns="36028" rIns="72055" bIns="36028" numCol="1" spcCol="0" rtlCol="0" fromWordArt="0" anchor="t" anchorCtr="0" forceAA="0" compatLnSpc="1">
              <a:prstTxWarp prst="textNoShape">
                <a:avLst/>
              </a:prstTxWarp>
              <a:spAutoFit/>
            </a:bodyPr>
            <a:lstStyle/>
            <a:p>
              <a:pPr marL="316570" defTabSz="564345" fontAlgn="base">
                <a:spcBef>
                  <a:spcPct val="0"/>
                </a:spcBef>
                <a:defRPr/>
              </a:pPr>
              <a:r>
                <a:rPr lang="en-US" sz="1103" dirty="0">
                  <a:solidFill>
                    <a:srgbClr val="ED7D31"/>
                  </a:solidFill>
                  <a:ea typeface="Segoe UI" panose="020B0502040204020203" pitchFamily="34" charset="0"/>
                  <a:cs typeface="Segoe UI" panose="020B0502040204020203" pitchFamily="34" charset="0"/>
                </a:rPr>
                <a:t>What ?</a:t>
              </a:r>
            </a:p>
          </p:txBody>
        </p:sp>
        <p:sp>
          <p:nvSpPr>
            <p:cNvPr id="21" name="Rectangle 20"/>
            <p:cNvSpPr/>
            <p:nvPr/>
          </p:nvSpPr>
          <p:spPr bwMode="auto">
            <a:xfrm>
              <a:off x="3363116" y="2710548"/>
              <a:ext cx="2816352" cy="3239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36028" bIns="36028" numCol="1" spcCol="0" rtlCol="0" fromWordArt="0" anchor="t" anchorCtr="0" forceAA="0" compatLnSpc="1">
              <a:prstTxWarp prst="textNoShape">
                <a:avLst/>
              </a:prstTxWarp>
              <a:noAutofit/>
            </a:bodyPr>
            <a:lstStyle/>
            <a:p>
              <a:pPr marL="70419" defTabSz="575855">
                <a:spcAft>
                  <a:spcPts val="62"/>
                </a:spcAft>
                <a:defRPr/>
              </a:pPr>
              <a:endParaRPr lang="en-US" sz="1471" dirty="0">
                <a:solidFill>
                  <a:srgbClr val="008272"/>
                </a:solidFill>
              </a:endParaRPr>
            </a:p>
          </p:txBody>
        </p:sp>
      </p:grpSp>
      <p:grpSp>
        <p:nvGrpSpPr>
          <p:cNvPr id="6" name="Group 9"/>
          <p:cNvGrpSpPr/>
          <p:nvPr/>
        </p:nvGrpSpPr>
        <p:grpSpPr>
          <a:xfrm>
            <a:off x="3679686" y="1158281"/>
            <a:ext cx="1927329" cy="2964017"/>
            <a:chOff x="6269032" y="1933086"/>
            <a:chExt cx="2987491" cy="4032055"/>
          </a:xfrm>
        </p:grpSpPr>
        <p:sp>
          <p:nvSpPr>
            <p:cNvPr id="25" name="Rectangle 24"/>
            <p:cNvSpPr/>
            <p:nvPr/>
          </p:nvSpPr>
          <p:spPr bwMode="auto">
            <a:xfrm>
              <a:off x="6269034" y="2417765"/>
              <a:ext cx="2816351" cy="28363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72055" bIns="36028" numCol="1" spcCol="0" rtlCol="0" fromWordArt="0" anchor="t" anchorCtr="0" forceAA="0" compatLnSpc="1">
              <a:prstTxWarp prst="textNoShape">
                <a:avLst/>
              </a:prstTxWarp>
              <a:spAutoFit/>
            </a:bodyPr>
            <a:lstStyle/>
            <a:p>
              <a:pPr defTabSz="575855"/>
              <a:r>
                <a:rPr lang="en-US" sz="882" dirty="0">
                  <a:solidFill>
                    <a:srgbClr val="FFFFFF"/>
                  </a:solidFill>
                  <a:latin typeface="Segoe Semibold" panose="020B0702040504020203" pitchFamily="34" charset="0"/>
                </a:rPr>
                <a:t>Product Groups</a:t>
              </a:r>
            </a:p>
          </p:txBody>
        </p:sp>
        <p:sp>
          <p:nvSpPr>
            <p:cNvPr id="26" name="Rectangle 25"/>
            <p:cNvSpPr/>
            <p:nvPr/>
          </p:nvSpPr>
          <p:spPr bwMode="auto">
            <a:xfrm>
              <a:off x="6440172" y="1933086"/>
              <a:ext cx="2816351" cy="329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52193" tIns="36028" rIns="72055" bIns="36028" numCol="1" spcCol="0" rtlCol="0" fromWordArt="0" anchor="t" anchorCtr="0" forceAA="0" compatLnSpc="1">
              <a:prstTxWarp prst="textNoShape">
                <a:avLst/>
              </a:prstTxWarp>
              <a:spAutoFit/>
            </a:bodyPr>
            <a:lstStyle/>
            <a:p>
              <a:pPr marL="316570" defTabSz="564345" fontAlgn="base">
                <a:spcBef>
                  <a:spcPct val="0"/>
                </a:spcBef>
                <a:defRPr/>
              </a:pPr>
              <a:r>
                <a:rPr lang="en-US" sz="1103" dirty="0">
                  <a:solidFill>
                    <a:srgbClr val="008272"/>
                  </a:solidFill>
                  <a:ea typeface="Segoe UI" panose="020B0502040204020203" pitchFamily="34" charset="0"/>
                  <a:cs typeface="Segoe UI" panose="020B0502040204020203" pitchFamily="34" charset="0"/>
                </a:rPr>
                <a:t>Which ?</a:t>
              </a:r>
            </a:p>
          </p:txBody>
        </p:sp>
        <p:sp>
          <p:nvSpPr>
            <p:cNvPr id="29" name="Rectangle 28"/>
            <p:cNvSpPr/>
            <p:nvPr/>
          </p:nvSpPr>
          <p:spPr bwMode="auto">
            <a:xfrm>
              <a:off x="6269032" y="2725541"/>
              <a:ext cx="2816350" cy="3239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36028" bIns="36028"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sz="1324" dirty="0">
                  <a:solidFill>
                    <a:srgbClr val="68217A"/>
                  </a:solidFill>
                </a:rPr>
                <a:t>﻿26387251 accounted for 56.58% of Sales Volume with 41% of product combinations.</a:t>
              </a:r>
            </a:p>
            <a:p>
              <a:endParaRPr lang="en-US" sz="1324" dirty="0">
                <a:solidFill>
                  <a:srgbClr val="68217A"/>
                </a:solidFill>
              </a:endParaRPr>
            </a:p>
            <a:p>
              <a:pPr marL="285750" indent="-285750">
                <a:buFont typeface="Arial" panose="020B0604020202020204" pitchFamily="34" charset="0"/>
                <a:buChar char="•"/>
              </a:pPr>
              <a:r>
                <a:rPr lang="en-US" sz="1324" dirty="0">
                  <a:solidFill>
                    <a:srgbClr val="68217A"/>
                  </a:solidFill>
                </a:rPr>
                <a:t>Across all 7 Product Groups, Mean Price ranged from 13.11 to 26.36 .</a:t>
              </a:r>
            </a:p>
          </p:txBody>
        </p:sp>
      </p:grpSp>
      <p:grpSp>
        <p:nvGrpSpPr>
          <p:cNvPr id="7" name="Group 10"/>
          <p:cNvGrpSpPr/>
          <p:nvPr/>
        </p:nvGrpSpPr>
        <p:grpSpPr>
          <a:xfrm>
            <a:off x="5535570" y="1164176"/>
            <a:ext cx="1791656" cy="2927759"/>
            <a:chOff x="9174947" y="1941105"/>
            <a:chExt cx="2871929" cy="3982733"/>
          </a:xfrm>
        </p:grpSpPr>
        <p:sp>
          <p:nvSpPr>
            <p:cNvPr id="33" name="Rectangle 32"/>
            <p:cNvSpPr/>
            <p:nvPr/>
          </p:nvSpPr>
          <p:spPr bwMode="auto">
            <a:xfrm>
              <a:off x="9174947" y="2417765"/>
              <a:ext cx="2816352" cy="28363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72055" bIns="36028" numCol="1" spcCol="0" rtlCol="0" fromWordArt="0" anchor="t" anchorCtr="0" forceAA="0" compatLnSpc="1">
              <a:prstTxWarp prst="textNoShape">
                <a:avLst/>
              </a:prstTxWarp>
              <a:spAutoFit/>
            </a:bodyPr>
            <a:lstStyle/>
            <a:p>
              <a:pPr defTabSz="575855"/>
              <a:r>
                <a:rPr lang="en-US" sz="882" dirty="0">
                  <a:solidFill>
                    <a:srgbClr val="FFFFFF"/>
                  </a:solidFill>
                  <a:latin typeface="Segoe Semibold" panose="020B0702040504020203" pitchFamily="34" charset="0"/>
                </a:rPr>
                <a:t>Price</a:t>
              </a:r>
            </a:p>
          </p:txBody>
        </p:sp>
        <p:sp>
          <p:nvSpPr>
            <p:cNvPr id="35" name="Rectangle 34"/>
            <p:cNvSpPr/>
            <p:nvPr/>
          </p:nvSpPr>
          <p:spPr bwMode="auto">
            <a:xfrm>
              <a:off x="9230524" y="1941105"/>
              <a:ext cx="2816352" cy="329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88220" tIns="36028" rIns="72055" bIns="36028" numCol="1" spcCol="0" rtlCol="0" fromWordArt="0" anchor="t" anchorCtr="0" forceAA="0" compatLnSpc="1">
              <a:prstTxWarp prst="textNoShape">
                <a:avLst/>
              </a:prstTxWarp>
              <a:spAutoFit/>
            </a:bodyPr>
            <a:lstStyle/>
            <a:p>
              <a:pPr marL="316570" defTabSz="564345" fontAlgn="base">
                <a:spcBef>
                  <a:spcPct val="0"/>
                </a:spcBef>
                <a:defRPr/>
              </a:pPr>
              <a:r>
                <a:rPr lang="en-US" sz="1103" b="1" dirty="0">
                  <a:solidFill>
                    <a:srgbClr val="333F50"/>
                  </a:solidFill>
                  <a:ea typeface="Segoe UI" panose="020B0502040204020203" pitchFamily="34" charset="0"/>
                  <a:cs typeface="Segoe UI" panose="020B0502040204020203" pitchFamily="34" charset="0"/>
                </a:rPr>
                <a:t>Price ?</a:t>
              </a:r>
            </a:p>
          </p:txBody>
        </p:sp>
        <p:sp>
          <p:nvSpPr>
            <p:cNvPr id="39" name="Rectangle 38"/>
            <p:cNvSpPr/>
            <p:nvPr/>
          </p:nvSpPr>
          <p:spPr bwMode="auto">
            <a:xfrm>
              <a:off x="9174947" y="2725541"/>
              <a:ext cx="2816352" cy="319829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36028" bIns="36028" numCol="1" spcCol="0" rtlCol="0" fromWordArt="0" anchor="t" anchorCtr="0" forceAA="0" compatLnSpc="1">
              <a:prstTxWarp prst="textNoShape">
                <a:avLst/>
              </a:prstTxWarp>
              <a:noAutofit/>
            </a:bodyPr>
            <a:lstStyle/>
            <a:p>
              <a:pPr marL="176213" indent="-87313" defTabSz="575855">
                <a:spcAft>
                  <a:spcPts val="62"/>
                </a:spcAft>
                <a:buFont typeface="Arial" panose="020B0604020202020204" pitchFamily="34" charset="0"/>
                <a:buChar char="•"/>
                <a:defRPr/>
              </a:pPr>
              <a:r>
                <a:rPr lang="en-US" sz="1280" dirty="0">
                  <a:solidFill>
                    <a:srgbClr val="333F50"/>
                  </a:solidFill>
                </a:rPr>
                <a:t>Mean OSP and Mean CSP diverged the most when the product group was 26387251.</a:t>
              </a:r>
            </a:p>
            <a:p>
              <a:pPr marL="176213" indent="-87313" defTabSz="575855">
                <a:spcAft>
                  <a:spcPts val="62"/>
                </a:spcAft>
                <a:buFont typeface="Arial" panose="020B0604020202020204" pitchFamily="34" charset="0"/>
                <a:buChar char="•"/>
                <a:tabLst>
                  <a:tab pos="176213" algn="l"/>
                </a:tabLst>
                <a:defRPr/>
              </a:pPr>
              <a:r>
                <a:rPr lang="en-US" sz="1280" dirty="0">
                  <a:solidFill>
                    <a:srgbClr val="333F50"/>
                  </a:solidFill>
                </a:rPr>
                <a:t>At 26.36, 3bc0de94 had the highest Mean CSP and was 101.00% higher than 606565a1, which had the lowest Mean CSP at 13.11.</a:t>
              </a:r>
            </a:p>
          </p:txBody>
        </p:sp>
      </p:grpSp>
      <p:grpSp>
        <p:nvGrpSpPr>
          <p:cNvPr id="8" name="Group 36"/>
          <p:cNvGrpSpPr/>
          <p:nvPr/>
        </p:nvGrpSpPr>
        <p:grpSpPr>
          <a:xfrm>
            <a:off x="7327225" y="1145692"/>
            <a:ext cx="1722389" cy="2946242"/>
            <a:chOff x="9174947" y="1915960"/>
            <a:chExt cx="2669821" cy="4007876"/>
          </a:xfrm>
        </p:grpSpPr>
        <p:sp>
          <p:nvSpPr>
            <p:cNvPr id="38" name="Rectangle 37"/>
            <p:cNvSpPr/>
            <p:nvPr/>
          </p:nvSpPr>
          <p:spPr bwMode="auto">
            <a:xfrm>
              <a:off x="9174947" y="2417764"/>
              <a:ext cx="2669821" cy="283403"/>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72055" bIns="36028" numCol="1" spcCol="0" rtlCol="0" fromWordArt="0" anchor="t" anchorCtr="0" forceAA="0" compatLnSpc="1">
              <a:prstTxWarp prst="textNoShape">
                <a:avLst/>
              </a:prstTxWarp>
              <a:spAutoFit/>
            </a:bodyPr>
            <a:lstStyle/>
            <a:p>
              <a:pPr defTabSz="575855"/>
              <a:r>
                <a:rPr lang="en-US" sz="882" dirty="0">
                  <a:solidFill>
                    <a:srgbClr val="FFFFFF"/>
                  </a:solidFill>
                  <a:latin typeface="Segoe Semibold" panose="020B0702040504020203" pitchFamily="34" charset="0"/>
                </a:rPr>
                <a:t>Quadrants</a:t>
              </a:r>
            </a:p>
          </p:txBody>
        </p:sp>
        <p:sp>
          <p:nvSpPr>
            <p:cNvPr id="40" name="Rectangle 39"/>
            <p:cNvSpPr/>
            <p:nvPr/>
          </p:nvSpPr>
          <p:spPr bwMode="auto">
            <a:xfrm>
              <a:off x="9197583" y="1915960"/>
              <a:ext cx="2647185" cy="32986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88220" tIns="36028" rIns="72055" bIns="36028" numCol="1" spcCol="0" rtlCol="0" fromWordArt="0" anchor="t" anchorCtr="0" forceAA="0" compatLnSpc="1">
              <a:prstTxWarp prst="textNoShape">
                <a:avLst/>
              </a:prstTxWarp>
              <a:spAutoFit/>
            </a:bodyPr>
            <a:lstStyle/>
            <a:p>
              <a:pPr marL="316570" defTabSz="564345" fontAlgn="base">
                <a:spcBef>
                  <a:spcPct val="0"/>
                </a:spcBef>
                <a:defRPr/>
              </a:pPr>
              <a:r>
                <a:rPr lang="en-US" sz="1103" dirty="0">
                  <a:solidFill>
                    <a:srgbClr val="002060"/>
                  </a:solidFill>
                  <a:ea typeface="Segoe UI" panose="020B0502040204020203" pitchFamily="34" charset="0"/>
                  <a:cs typeface="Segoe UI" panose="020B0502040204020203" pitchFamily="34" charset="0"/>
                </a:rPr>
                <a:t>Quadrants</a:t>
              </a:r>
            </a:p>
          </p:txBody>
        </p:sp>
        <p:sp>
          <p:nvSpPr>
            <p:cNvPr id="41" name="Rectangle 40"/>
            <p:cNvSpPr/>
            <p:nvPr/>
          </p:nvSpPr>
          <p:spPr bwMode="auto">
            <a:xfrm>
              <a:off x="9174947" y="2725540"/>
              <a:ext cx="2669821" cy="3198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55" tIns="36028" rIns="36028" bIns="36028" numCol="1" spcCol="0" rtlCol="0" fromWordArt="0" anchor="t" anchorCtr="0" forceAA="0" compatLnSpc="1">
              <a:prstTxWarp prst="textNoShape">
                <a:avLst/>
              </a:prstTxWarp>
              <a:noAutofit/>
            </a:bodyPr>
            <a:lstStyle/>
            <a:p>
              <a:pPr marL="376229" indent="-285750" defTabSz="575855">
                <a:spcAft>
                  <a:spcPts val="62"/>
                </a:spcAft>
                <a:buFont typeface="Arial" panose="020B0604020202020204" pitchFamily="34" charset="0"/>
                <a:buChar char="•"/>
                <a:defRPr/>
              </a:pPr>
              <a:r>
                <a:rPr lang="en-US" sz="1250" dirty="0">
                  <a:solidFill>
                    <a:srgbClr val="002060"/>
                  </a:solidFill>
                </a:rPr>
                <a:t>Product groups can be divided into 4Quadrants on Volume-Mean CSP basis.</a:t>
              </a:r>
            </a:p>
            <a:p>
              <a:pPr marL="90479" defTabSz="575855">
                <a:spcAft>
                  <a:spcPts val="62"/>
                </a:spcAft>
                <a:defRPr/>
              </a:pPr>
              <a:endParaRPr lang="en-US" sz="1250" dirty="0">
                <a:solidFill>
                  <a:srgbClr val="002060"/>
                </a:solidFill>
              </a:endParaRPr>
            </a:p>
            <a:p>
              <a:pPr marL="376229" indent="-285750" defTabSz="575855">
                <a:spcAft>
                  <a:spcPts val="62"/>
                </a:spcAft>
                <a:buFont typeface="Arial" panose="020B0604020202020204" pitchFamily="34" charset="0"/>
                <a:buChar char="•"/>
                <a:defRPr/>
              </a:pPr>
              <a:r>
                <a:rPr lang="en-US" sz="1250" dirty="0">
                  <a:solidFill>
                    <a:srgbClr val="002060"/>
                  </a:solidFill>
                </a:rPr>
                <a:t>Products within a quadrant- channel-country behave similarly</a:t>
              </a:r>
              <a:endParaRPr lang="en-IN" sz="1250" dirty="0">
                <a:solidFill>
                  <a:srgbClr val="002060"/>
                </a:solidFill>
              </a:endParaRPr>
            </a:p>
          </p:txBody>
        </p:sp>
      </p:grpSp>
      <p:sp>
        <p:nvSpPr>
          <p:cNvPr id="51" name="Freeform 62"/>
          <p:cNvSpPr>
            <a:spLocks noEditPoints="1"/>
          </p:cNvSpPr>
          <p:nvPr/>
        </p:nvSpPr>
        <p:spPr bwMode="black">
          <a:xfrm>
            <a:off x="94387" y="1071773"/>
            <a:ext cx="376488" cy="3763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ln>
            <a:solidFill>
              <a:srgbClr val="4472C4"/>
            </a:solidFill>
          </a:ln>
        </p:spPr>
        <p:style>
          <a:lnRef idx="2">
            <a:schemeClr val="accent2"/>
          </a:lnRef>
          <a:fillRef idx="1">
            <a:schemeClr val="lt1"/>
          </a:fillRef>
          <a:effectRef idx="0">
            <a:schemeClr val="accent2"/>
          </a:effectRef>
          <a:fontRef idx="minor">
            <a:schemeClr val="dk1"/>
          </a:fontRef>
        </p:style>
        <p:txBody>
          <a:bodyPr vert="horz" wrap="square" lIns="47417" tIns="23708" rIns="47417" bIns="23708" numCol="1" anchor="t" anchorCtr="0" compatLnSpc="1">
            <a:prstTxWarp prst="textNoShape">
              <a:avLst/>
            </a:prstTxWarp>
          </a:bodyPr>
          <a:lstStyle/>
          <a:p>
            <a:pPr defTabSz="526781"/>
            <a:endParaRPr lang="en-US" sz="882" kern="0" dirty="0">
              <a:solidFill>
                <a:sysClr val="windowText" lastClr="000000"/>
              </a:solidFill>
            </a:endParaRPr>
          </a:p>
        </p:txBody>
      </p:sp>
      <p:pic>
        <p:nvPicPr>
          <p:cNvPr id="52" name="Picture 3" descr="\\MAGNUM\Projects\Microsoft\Cloud Power FY12\Design\Icons\PNGs\Storefront.png"/>
          <p:cNvPicPr>
            <a:picLocks noChangeAspect="1" noChangeArrowheads="1"/>
          </p:cNvPicPr>
          <p:nvPr/>
        </p:nvPicPr>
        <p:blipFill>
          <a:blip r:embed="rId6" cstate="print">
            <a:biLevel thresh="50000"/>
          </a:blip>
          <a:srcRect/>
          <a:stretch>
            <a:fillRect/>
          </a:stretch>
        </p:blipFill>
        <p:spPr bwMode="auto">
          <a:xfrm>
            <a:off x="3725380" y="1076211"/>
            <a:ext cx="406811" cy="406626"/>
          </a:xfrm>
          <a:prstGeom prst="rect">
            <a:avLst/>
          </a:prstGeom>
          <a:solidFill>
            <a:srgbClr val="008272"/>
          </a:solidFill>
        </p:spPr>
      </p:pic>
      <p:sp>
        <p:nvSpPr>
          <p:cNvPr id="43" name="Title 2"/>
          <p:cNvSpPr>
            <a:spLocks noGrp="1"/>
          </p:cNvSpPr>
          <p:nvPr>
            <p:ph type="title" idx="4294967295"/>
          </p:nvPr>
        </p:nvSpPr>
        <p:spPr>
          <a:xfrm>
            <a:off x="0" y="214312"/>
            <a:ext cx="8715375" cy="433388"/>
          </a:xfrm>
          <a:prstGeom prst="rect">
            <a:avLst/>
          </a:prstGeom>
        </p:spPr>
        <p:txBody>
          <a:bodyPr vert="horz" wrap="square" lIns="107560" tIns="67226" rIns="107560" bIns="67226" rtlCol="0" anchor="t" anchorCtr="0">
            <a:noAutofit/>
          </a:bodyPr>
          <a:lstStyle/>
          <a:p>
            <a:pPr defTabSz="685709">
              <a:defRPr/>
            </a:pPr>
            <a:r>
              <a:rPr lang="en-US" sz="2400" b="1" dirty="0">
                <a:latin typeface="Open Sans" panose="020B0606030504020204" pitchFamily="34" charset="0"/>
                <a:ea typeface="Open Sans" panose="020B0606030504020204" pitchFamily="34" charset="0"/>
                <a:cs typeface="Open Sans" panose="020B0606030504020204" pitchFamily="34" charset="0"/>
              </a:rPr>
              <a:t>Insights of Sales Volume - Price</a:t>
            </a:r>
          </a:p>
        </p:txBody>
      </p:sp>
      <p:sp>
        <p:nvSpPr>
          <p:cNvPr id="9" name="Rectangle 8">
            <a:extLst>
              <a:ext uri="{FF2B5EF4-FFF2-40B4-BE49-F238E27FC236}">
                <a16:creationId xmlns:a16="http://schemas.microsoft.com/office/drawing/2014/main" id="{40EBBC76-D7D1-4FFA-8D5E-15C255FA5A12}"/>
              </a:ext>
            </a:extLst>
          </p:cNvPr>
          <p:cNvSpPr/>
          <p:nvPr/>
        </p:nvSpPr>
        <p:spPr>
          <a:xfrm>
            <a:off x="1871429" y="1722908"/>
            <a:ext cx="1766654" cy="2377574"/>
          </a:xfrm>
          <a:prstGeom prst="rect">
            <a:avLst/>
          </a:prstGeom>
        </p:spPr>
        <p:txBody>
          <a:bodyPr wrap="square">
            <a:spAutoFit/>
          </a:bodyPr>
          <a:lstStyle/>
          <a:p>
            <a:pPr marL="285750" indent="-285750">
              <a:buFont typeface="Arial" panose="020B0604020202020204" pitchFamily="34" charset="0"/>
              <a:buChar char="•"/>
            </a:pPr>
            <a:r>
              <a:rPr lang="en-IN" sz="1350" dirty="0">
                <a:solidFill>
                  <a:schemeClr val="accent2">
                    <a:lumMod val="75000"/>
                  </a:schemeClr>
                </a:solidFill>
              </a:rPr>
              <a:t>Season L has most of the Products being sold at distinct 1857 combinations.</a:t>
            </a:r>
          </a:p>
          <a:p>
            <a:endParaRPr lang="en-IN" sz="1350" dirty="0">
              <a:solidFill>
                <a:schemeClr val="accent2">
                  <a:lumMod val="75000"/>
                </a:schemeClr>
              </a:solidFill>
            </a:endParaRPr>
          </a:p>
          <a:p>
            <a:pPr marL="285750" indent="-285750">
              <a:buFont typeface="Arial" panose="020B0604020202020204" pitchFamily="34" charset="0"/>
              <a:buChar char="•"/>
            </a:pPr>
            <a:r>
              <a:rPr lang="en-IN" sz="1350" dirty="0">
                <a:solidFill>
                  <a:schemeClr val="accent2">
                    <a:lumMod val="75000"/>
                  </a:schemeClr>
                </a:solidFill>
              </a:rPr>
              <a:t>Stores sells more product combinations as compared to Online</a:t>
            </a:r>
            <a:endParaRPr lang="en-IN" sz="1350" dirty="0"/>
          </a:p>
        </p:txBody>
      </p:sp>
      <p:pic>
        <p:nvPicPr>
          <p:cNvPr id="11" name="Graphic 10" descr="Internet with solid fill">
            <a:extLst>
              <a:ext uri="{FF2B5EF4-FFF2-40B4-BE49-F238E27FC236}">
                <a16:creationId xmlns:a16="http://schemas.microsoft.com/office/drawing/2014/main" id="{D7982A4E-6E49-4ABE-9F26-7C4F9C8507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96606" y="1012809"/>
            <a:ext cx="603630" cy="603630"/>
          </a:xfrm>
          <a:prstGeom prst="rect">
            <a:avLst/>
          </a:prstGeom>
        </p:spPr>
      </p:pic>
      <p:pic>
        <p:nvPicPr>
          <p:cNvPr id="15" name="Graphic 14" descr="Store with solid fill">
            <a:extLst>
              <a:ext uri="{FF2B5EF4-FFF2-40B4-BE49-F238E27FC236}">
                <a16:creationId xmlns:a16="http://schemas.microsoft.com/office/drawing/2014/main" id="{0A2DF145-9584-4F01-935B-0C82BB3586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7115" y="1025634"/>
            <a:ext cx="453425" cy="453425"/>
          </a:xfrm>
          <a:prstGeom prst="rect">
            <a:avLst/>
          </a:prstGeom>
          <a:effectLst/>
        </p:spPr>
      </p:pic>
      <p:pic>
        <p:nvPicPr>
          <p:cNvPr id="17" name="Graphic 16" descr="Shopping cart with solid fill">
            <a:extLst>
              <a:ext uri="{FF2B5EF4-FFF2-40B4-BE49-F238E27FC236}">
                <a16:creationId xmlns:a16="http://schemas.microsoft.com/office/drawing/2014/main" id="{7DA676D3-CE61-4A84-AA14-91C7773F05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99427" y="1045986"/>
            <a:ext cx="447059" cy="447059"/>
          </a:xfrm>
          <a:prstGeom prst="rect">
            <a:avLst/>
          </a:prstGeom>
        </p:spPr>
      </p:pic>
      <p:pic>
        <p:nvPicPr>
          <p:cNvPr id="45" name="Picture 4" descr="insights-icon - GeoPoll">
            <a:extLst>
              <a:ext uri="{FF2B5EF4-FFF2-40B4-BE49-F238E27FC236}">
                <a16:creationId xmlns:a16="http://schemas.microsoft.com/office/drawing/2014/main" id="{538AA601-6E41-4DC9-800D-4B6F4CC8815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57291" y="5368"/>
            <a:ext cx="778960" cy="7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291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3F94A5-AE46-4D80-8B17-322199D46E08}"/>
              </a:ext>
            </a:extLst>
          </p:cNvPr>
          <p:cNvSpPr>
            <a:spLocks noGrp="1"/>
          </p:cNvSpPr>
          <p:nvPr>
            <p:ph type="body" sz="half" idx="25"/>
          </p:nvPr>
        </p:nvSpPr>
        <p:spPr>
          <a:xfrm>
            <a:off x="1072320" y="823137"/>
            <a:ext cx="7707770" cy="518091"/>
          </a:xfrm>
        </p:spPr>
        <p:txBody>
          <a:bodyPr/>
          <a:lstStyle/>
          <a:p>
            <a:r>
              <a:rPr lang="en-US" sz="1050" b="1" dirty="0"/>
              <a:t>95% of the Sales are accounted by Stores</a:t>
            </a:r>
          </a:p>
          <a:p>
            <a:r>
              <a:rPr lang="en-US" sz="1050" b="1" dirty="0"/>
              <a:t>94% of Sales Volume are by Country B</a:t>
            </a:r>
          </a:p>
        </p:txBody>
      </p:sp>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a:xfrm>
            <a:off x="454023" y="362458"/>
            <a:ext cx="8141098" cy="466281"/>
          </a:xfrm>
        </p:spPr>
        <p:txBody>
          <a:bodyPr/>
          <a:lstStyle/>
          <a:p>
            <a:r>
              <a:rPr lang="en-US" dirty="0"/>
              <a:t>Where volume behavior ?</a:t>
            </a:r>
            <a:endParaRPr lang="en-GB" dirty="0"/>
          </a:p>
        </p:txBody>
      </p:sp>
      <p:sp>
        <p:nvSpPr>
          <p:cNvPr id="13" name="Rectangle: Rounded Corners 12">
            <a:extLst>
              <a:ext uri="{FF2B5EF4-FFF2-40B4-BE49-F238E27FC236}">
                <a16:creationId xmlns:a16="http://schemas.microsoft.com/office/drawing/2014/main" id="{B2DE0ABF-EFFE-4955-9F73-DEEC789C4CD5}"/>
              </a:ext>
            </a:extLst>
          </p:cNvPr>
          <p:cNvSpPr/>
          <p:nvPr/>
        </p:nvSpPr>
        <p:spPr>
          <a:xfrm>
            <a:off x="4680449"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By Country</a:t>
            </a:r>
          </a:p>
        </p:txBody>
      </p:sp>
      <p:sp>
        <p:nvSpPr>
          <p:cNvPr id="15" name="Rectangle: Rounded Corners 14">
            <a:extLst>
              <a:ext uri="{FF2B5EF4-FFF2-40B4-BE49-F238E27FC236}">
                <a16:creationId xmlns:a16="http://schemas.microsoft.com/office/drawing/2014/main" id="{A3AAA11E-189C-4733-A16A-DB08CD52FCDF}"/>
              </a:ext>
            </a:extLst>
          </p:cNvPr>
          <p:cNvSpPr/>
          <p:nvPr/>
        </p:nvSpPr>
        <p:spPr>
          <a:xfrm>
            <a:off x="591778"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500" b="1" dirty="0">
                <a:solidFill>
                  <a:schemeClr val="tx1"/>
                </a:solidFill>
              </a:rPr>
              <a:t>BY Channel</a:t>
            </a:r>
            <a:endParaRPr lang="en-GB" sz="1500" b="1" dirty="0" err="1">
              <a:solidFill>
                <a:schemeClr val="tx1"/>
              </a:solidFill>
            </a:endParaRPr>
          </a:p>
        </p:txBody>
      </p:sp>
      <p:pic>
        <p:nvPicPr>
          <p:cNvPr id="27" name="Graphic 26" descr="Scientific Thought with solid fill">
            <a:extLst>
              <a:ext uri="{FF2B5EF4-FFF2-40B4-BE49-F238E27FC236}">
                <a16:creationId xmlns:a16="http://schemas.microsoft.com/office/drawing/2014/main" id="{290B8C10-2DB2-459E-8BFF-F80EE66810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0115" y="876424"/>
            <a:ext cx="465884" cy="465884"/>
          </a:xfrm>
          <a:prstGeom prst="rect">
            <a:avLst/>
          </a:prstGeom>
        </p:spPr>
      </p:pic>
      <p:sp>
        <p:nvSpPr>
          <p:cNvPr id="18" name="Freeform 62">
            <a:extLst>
              <a:ext uri="{FF2B5EF4-FFF2-40B4-BE49-F238E27FC236}">
                <a16:creationId xmlns:a16="http://schemas.microsoft.com/office/drawing/2014/main" id="{7593A50C-8E29-4A50-9F81-5232895D122F}"/>
              </a:ext>
            </a:extLst>
          </p:cNvPr>
          <p:cNvSpPr>
            <a:spLocks noEditPoints="1"/>
          </p:cNvSpPr>
          <p:nvPr/>
        </p:nvSpPr>
        <p:spPr bwMode="black">
          <a:xfrm>
            <a:off x="8635181" y="0"/>
            <a:ext cx="465479" cy="47932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ln>
            <a:solidFill>
              <a:srgbClr val="4472C4"/>
            </a:solidFill>
          </a:ln>
        </p:spPr>
        <p:style>
          <a:lnRef idx="2">
            <a:schemeClr val="accent2"/>
          </a:lnRef>
          <a:fillRef idx="1">
            <a:schemeClr val="lt1"/>
          </a:fillRef>
          <a:effectRef idx="0">
            <a:schemeClr val="accent2"/>
          </a:effectRef>
          <a:fontRef idx="minor">
            <a:schemeClr val="dk1"/>
          </a:fontRef>
        </p:style>
        <p:txBody>
          <a:bodyPr vert="horz" wrap="square" lIns="47417" tIns="23708" rIns="47417" bIns="23708" numCol="1" anchor="t" anchorCtr="0" compatLnSpc="1">
            <a:prstTxWarp prst="textNoShape">
              <a:avLst/>
            </a:prstTxWarp>
          </a:bodyPr>
          <a:lstStyle/>
          <a:p>
            <a:pPr defTabSz="526781"/>
            <a:endParaRPr lang="en-US" sz="882" kern="0" dirty="0">
              <a:solidFill>
                <a:sysClr val="windowText" lastClr="000000"/>
              </a:solidFill>
            </a:endParaRPr>
          </a:p>
        </p:txBody>
      </p:sp>
      <p:pic>
        <p:nvPicPr>
          <p:cNvPr id="14" name="Picture 13">
            <a:extLst>
              <a:ext uri="{FF2B5EF4-FFF2-40B4-BE49-F238E27FC236}">
                <a16:creationId xmlns:a16="http://schemas.microsoft.com/office/drawing/2014/main" id="{DACB7F61-D563-4E83-A85B-3660A8EA3567}"/>
              </a:ext>
            </a:extLst>
          </p:cNvPr>
          <p:cNvPicPr>
            <a:picLocks noChangeAspect="1"/>
          </p:cNvPicPr>
          <p:nvPr/>
        </p:nvPicPr>
        <p:blipFill>
          <a:blip r:embed="rId4"/>
          <a:stretch>
            <a:fillRect/>
          </a:stretch>
        </p:blipFill>
        <p:spPr>
          <a:xfrm>
            <a:off x="1187245" y="2048668"/>
            <a:ext cx="2665298" cy="2507187"/>
          </a:xfrm>
          <a:prstGeom prst="rect">
            <a:avLst/>
          </a:prstGeom>
        </p:spPr>
      </p:pic>
      <p:pic>
        <p:nvPicPr>
          <p:cNvPr id="22" name="Picture 21">
            <a:extLst>
              <a:ext uri="{FF2B5EF4-FFF2-40B4-BE49-F238E27FC236}">
                <a16:creationId xmlns:a16="http://schemas.microsoft.com/office/drawing/2014/main" id="{81E71E51-B54D-4E5E-8EA0-3149320FE907}"/>
              </a:ext>
            </a:extLst>
          </p:cNvPr>
          <p:cNvPicPr>
            <a:picLocks noChangeAspect="1"/>
          </p:cNvPicPr>
          <p:nvPr/>
        </p:nvPicPr>
        <p:blipFill>
          <a:blip r:embed="rId5"/>
          <a:stretch>
            <a:fillRect/>
          </a:stretch>
        </p:blipFill>
        <p:spPr>
          <a:xfrm>
            <a:off x="5319754" y="2116504"/>
            <a:ext cx="2495945" cy="2371514"/>
          </a:xfrm>
          <a:prstGeom prst="rect">
            <a:avLst/>
          </a:prstGeom>
        </p:spPr>
      </p:pic>
      <p:pic>
        <p:nvPicPr>
          <p:cNvPr id="12" name="Picture 11" descr="insights-icon - GeoPoll">
            <a:extLst>
              <a:ext uri="{FF2B5EF4-FFF2-40B4-BE49-F238E27FC236}">
                <a16:creationId xmlns:a16="http://schemas.microsoft.com/office/drawing/2014/main" id="{868553C6-C15E-4042-BDA3-66BA6B977F70}"/>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94" y="1389993"/>
            <a:ext cx="778960" cy="7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388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3F94A5-AE46-4D80-8B17-322199D46E08}"/>
              </a:ext>
            </a:extLst>
          </p:cNvPr>
          <p:cNvSpPr>
            <a:spLocks noGrp="1"/>
          </p:cNvSpPr>
          <p:nvPr>
            <p:ph type="body" sz="half" idx="25"/>
          </p:nvPr>
        </p:nvSpPr>
        <p:spPr>
          <a:xfrm>
            <a:off x="1072320" y="823137"/>
            <a:ext cx="7707770" cy="518091"/>
          </a:xfrm>
        </p:spPr>
        <p:txBody>
          <a:bodyPr/>
          <a:lstStyle/>
          <a:p>
            <a:r>
              <a:rPr lang="en-US" sz="1050" b="1" dirty="0"/>
              <a:t>﻿26387251 accounted for 56.58% of Sales Volume with 41% of product combinations.</a:t>
            </a:r>
          </a:p>
          <a:p>
            <a:r>
              <a:rPr lang="en-US" sz="1050" b="1" dirty="0"/>
              <a:t>Across all 7 Product Groups, Mean Price ranged from 13.11 to 26.36 .</a:t>
            </a:r>
          </a:p>
        </p:txBody>
      </p:sp>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a:xfrm>
            <a:off x="454023" y="362458"/>
            <a:ext cx="8141098" cy="466281"/>
          </a:xfrm>
        </p:spPr>
        <p:txBody>
          <a:bodyPr/>
          <a:lstStyle/>
          <a:p>
            <a:r>
              <a:rPr lang="en-US" dirty="0"/>
              <a:t>Which volume behavior ?</a:t>
            </a:r>
            <a:endParaRPr lang="en-GB" dirty="0"/>
          </a:p>
        </p:txBody>
      </p:sp>
      <p:sp>
        <p:nvSpPr>
          <p:cNvPr id="13" name="Rectangle: Rounded Corners 12">
            <a:extLst>
              <a:ext uri="{FF2B5EF4-FFF2-40B4-BE49-F238E27FC236}">
                <a16:creationId xmlns:a16="http://schemas.microsoft.com/office/drawing/2014/main" id="{B2DE0ABF-EFFE-4955-9F73-DEEC789C4CD5}"/>
              </a:ext>
            </a:extLst>
          </p:cNvPr>
          <p:cNvSpPr/>
          <p:nvPr/>
        </p:nvSpPr>
        <p:spPr>
          <a:xfrm>
            <a:off x="4680449"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26387251 alone makes up 52% of Revenue</a:t>
            </a:r>
          </a:p>
        </p:txBody>
      </p:sp>
      <p:sp>
        <p:nvSpPr>
          <p:cNvPr id="15" name="Rectangle: Rounded Corners 14">
            <a:extLst>
              <a:ext uri="{FF2B5EF4-FFF2-40B4-BE49-F238E27FC236}">
                <a16:creationId xmlns:a16="http://schemas.microsoft.com/office/drawing/2014/main" id="{A3AAA11E-189C-4733-A16A-DB08CD52FCDF}"/>
              </a:ext>
            </a:extLst>
          </p:cNvPr>
          <p:cNvSpPr/>
          <p:nvPr/>
        </p:nvSpPr>
        <p:spPr>
          <a:xfrm>
            <a:off x="591778"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500" b="1" dirty="0">
                <a:solidFill>
                  <a:schemeClr val="tx1"/>
                </a:solidFill>
              </a:rPr>
              <a:t>3 top product groups make up 85% of volume</a:t>
            </a:r>
            <a:endParaRPr lang="en-GB" sz="1500" b="1" dirty="0" err="1">
              <a:solidFill>
                <a:schemeClr val="tx1"/>
              </a:solidFill>
            </a:endParaRPr>
          </a:p>
        </p:txBody>
      </p:sp>
      <p:pic>
        <p:nvPicPr>
          <p:cNvPr id="27" name="Graphic 26" descr="Scientific Thought with solid fill">
            <a:extLst>
              <a:ext uri="{FF2B5EF4-FFF2-40B4-BE49-F238E27FC236}">
                <a16:creationId xmlns:a16="http://schemas.microsoft.com/office/drawing/2014/main" id="{290B8C10-2DB2-459E-8BFF-F80EE66810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0115" y="876424"/>
            <a:ext cx="465884" cy="465884"/>
          </a:xfrm>
          <a:prstGeom prst="rect">
            <a:avLst/>
          </a:prstGeom>
        </p:spPr>
      </p:pic>
      <p:pic>
        <p:nvPicPr>
          <p:cNvPr id="3" name="Picture 2">
            <a:extLst>
              <a:ext uri="{FF2B5EF4-FFF2-40B4-BE49-F238E27FC236}">
                <a16:creationId xmlns:a16="http://schemas.microsoft.com/office/drawing/2014/main" id="{179C8CEC-8E13-41F5-8D35-22EFC675B079}"/>
              </a:ext>
            </a:extLst>
          </p:cNvPr>
          <p:cNvPicPr>
            <a:picLocks noChangeAspect="1"/>
          </p:cNvPicPr>
          <p:nvPr/>
        </p:nvPicPr>
        <p:blipFill>
          <a:blip r:embed="rId4"/>
          <a:stretch>
            <a:fillRect/>
          </a:stretch>
        </p:blipFill>
        <p:spPr>
          <a:xfrm>
            <a:off x="600115" y="2190500"/>
            <a:ext cx="3914672" cy="2226642"/>
          </a:xfrm>
          <a:prstGeom prst="rect">
            <a:avLst/>
          </a:prstGeom>
        </p:spPr>
      </p:pic>
      <p:pic>
        <p:nvPicPr>
          <p:cNvPr id="7" name="Picture 6">
            <a:extLst>
              <a:ext uri="{FF2B5EF4-FFF2-40B4-BE49-F238E27FC236}">
                <a16:creationId xmlns:a16="http://schemas.microsoft.com/office/drawing/2014/main" id="{AAF5B570-659B-4F14-B018-3624F311E56E}"/>
              </a:ext>
            </a:extLst>
          </p:cNvPr>
          <p:cNvPicPr>
            <a:picLocks noChangeAspect="1"/>
          </p:cNvPicPr>
          <p:nvPr/>
        </p:nvPicPr>
        <p:blipFill>
          <a:blip r:embed="rId5"/>
          <a:stretch>
            <a:fillRect/>
          </a:stretch>
        </p:blipFill>
        <p:spPr>
          <a:xfrm>
            <a:off x="4818754" y="2115581"/>
            <a:ext cx="3668943" cy="2456420"/>
          </a:xfrm>
          <a:prstGeom prst="rect">
            <a:avLst/>
          </a:prstGeom>
        </p:spPr>
      </p:pic>
      <p:pic>
        <p:nvPicPr>
          <p:cNvPr id="16" name="Picture 3" descr="\\MAGNUM\Projects\Microsoft\Cloud Power FY12\Design\Icons\PNGs\Storefront.png">
            <a:extLst>
              <a:ext uri="{FF2B5EF4-FFF2-40B4-BE49-F238E27FC236}">
                <a16:creationId xmlns:a16="http://schemas.microsoft.com/office/drawing/2014/main" id="{F76C38FA-73D2-4EF6-B14C-DD8A10D207C2}"/>
              </a:ext>
            </a:extLst>
          </p:cNvPr>
          <p:cNvPicPr>
            <a:picLocks noChangeAspect="1" noChangeArrowheads="1"/>
          </p:cNvPicPr>
          <p:nvPr/>
        </p:nvPicPr>
        <p:blipFill>
          <a:blip r:embed="rId6" cstate="print">
            <a:biLevel thresh="50000"/>
          </a:blip>
          <a:srcRect/>
          <a:stretch>
            <a:fillRect/>
          </a:stretch>
        </p:blipFill>
        <p:spPr bwMode="auto">
          <a:xfrm>
            <a:off x="8625675" y="0"/>
            <a:ext cx="518326" cy="518090"/>
          </a:xfrm>
          <a:prstGeom prst="rect">
            <a:avLst/>
          </a:prstGeom>
          <a:solidFill>
            <a:srgbClr val="008272"/>
          </a:solidFill>
        </p:spPr>
      </p:pic>
      <p:pic>
        <p:nvPicPr>
          <p:cNvPr id="19" name="Picture 18" descr="insights-icon - GeoPoll">
            <a:extLst>
              <a:ext uri="{FF2B5EF4-FFF2-40B4-BE49-F238E27FC236}">
                <a16:creationId xmlns:a16="http://schemas.microsoft.com/office/drawing/2014/main" id="{4D5F5AA9-1AAF-434B-965D-6EADA80EADAE}"/>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94" y="1389993"/>
            <a:ext cx="778960" cy="7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1394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3F94A5-AE46-4D80-8B17-322199D46E08}"/>
              </a:ext>
            </a:extLst>
          </p:cNvPr>
          <p:cNvSpPr>
            <a:spLocks noGrp="1"/>
          </p:cNvSpPr>
          <p:nvPr>
            <p:ph type="body" sz="half" idx="25"/>
          </p:nvPr>
        </p:nvSpPr>
        <p:spPr>
          <a:xfrm>
            <a:off x="1072320" y="823137"/>
            <a:ext cx="7707770" cy="518091"/>
          </a:xfrm>
        </p:spPr>
        <p:txBody>
          <a:bodyPr/>
          <a:lstStyle/>
          <a:p>
            <a:r>
              <a:rPr lang="en-US" sz="1050" b="1" dirty="0"/>
              <a:t>﻿Mean OSP and Mean CSP diverged the most when the product group was 26387251.</a:t>
            </a:r>
          </a:p>
          <a:p>
            <a:r>
              <a:rPr lang="en-US" sz="1050" b="1" dirty="0"/>
              <a:t>At 26.36, 3bc0de94 had the highest Mean CSP and was 101.00% higher than 606565a1, which had the lowest Mean CSP at 13.11.</a:t>
            </a:r>
          </a:p>
        </p:txBody>
      </p:sp>
      <p:sp>
        <p:nvSpPr>
          <p:cNvPr id="4" name="Title 3">
            <a:extLst>
              <a:ext uri="{FF2B5EF4-FFF2-40B4-BE49-F238E27FC236}">
                <a16:creationId xmlns:a16="http://schemas.microsoft.com/office/drawing/2014/main" id="{A27CACEB-EFDC-4E71-B9FA-08C944B455EC}"/>
              </a:ext>
            </a:extLst>
          </p:cNvPr>
          <p:cNvSpPr>
            <a:spLocks noGrp="1"/>
          </p:cNvSpPr>
          <p:nvPr>
            <p:ph type="title"/>
          </p:nvPr>
        </p:nvSpPr>
        <p:spPr>
          <a:xfrm>
            <a:off x="454023" y="362458"/>
            <a:ext cx="8141098" cy="466281"/>
          </a:xfrm>
        </p:spPr>
        <p:txBody>
          <a:bodyPr/>
          <a:lstStyle/>
          <a:p>
            <a:r>
              <a:rPr lang="en-US" dirty="0"/>
              <a:t>Price behavior ?</a:t>
            </a:r>
            <a:endParaRPr lang="en-GB" dirty="0"/>
          </a:p>
        </p:txBody>
      </p:sp>
      <p:sp>
        <p:nvSpPr>
          <p:cNvPr id="13" name="Rectangle: Rounded Corners 12">
            <a:extLst>
              <a:ext uri="{FF2B5EF4-FFF2-40B4-BE49-F238E27FC236}">
                <a16:creationId xmlns:a16="http://schemas.microsoft.com/office/drawing/2014/main" id="{B2DE0ABF-EFFE-4955-9F73-DEEC789C4CD5}"/>
              </a:ext>
            </a:extLst>
          </p:cNvPr>
          <p:cNvSpPr/>
          <p:nvPr/>
        </p:nvSpPr>
        <p:spPr>
          <a:xfrm>
            <a:off x="4680449"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500" b="1" dirty="0">
                <a:solidFill>
                  <a:schemeClr val="tx1"/>
                </a:solidFill>
              </a:rPr>
              <a:t>26387251 has the highest </a:t>
            </a:r>
            <a:r>
              <a:rPr lang="el-GR" sz="1500" b="1" dirty="0">
                <a:solidFill>
                  <a:schemeClr val="tx1"/>
                </a:solidFill>
              </a:rPr>
              <a:t>Δ</a:t>
            </a:r>
            <a:r>
              <a:rPr lang="en-GB" sz="1500" b="1" dirty="0">
                <a:solidFill>
                  <a:schemeClr val="tx1"/>
                </a:solidFill>
              </a:rPr>
              <a:t> among MSP</a:t>
            </a:r>
          </a:p>
        </p:txBody>
      </p:sp>
      <p:sp>
        <p:nvSpPr>
          <p:cNvPr id="15" name="Rectangle: Rounded Corners 14">
            <a:extLst>
              <a:ext uri="{FF2B5EF4-FFF2-40B4-BE49-F238E27FC236}">
                <a16:creationId xmlns:a16="http://schemas.microsoft.com/office/drawing/2014/main" id="{A3AAA11E-189C-4733-A16A-DB08CD52FCDF}"/>
              </a:ext>
            </a:extLst>
          </p:cNvPr>
          <p:cNvSpPr/>
          <p:nvPr/>
        </p:nvSpPr>
        <p:spPr>
          <a:xfrm>
            <a:off x="591778" y="1617840"/>
            <a:ext cx="3914672" cy="344878"/>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1500" b="1" dirty="0">
                <a:solidFill>
                  <a:schemeClr val="tx1"/>
                </a:solidFill>
              </a:rPr>
              <a:t>3bc0de94 has the least</a:t>
            </a:r>
            <a:r>
              <a:rPr lang="el-GR" sz="1600" b="0" i="0" dirty="0">
                <a:solidFill>
                  <a:srgbClr val="202124"/>
                </a:solidFill>
                <a:effectLst/>
                <a:latin typeface="arial" panose="020B0604020202020204" pitchFamily="34" charset="0"/>
              </a:rPr>
              <a:t> </a:t>
            </a:r>
            <a:r>
              <a:rPr lang="el-GR" sz="1500" b="1" dirty="0">
                <a:solidFill>
                  <a:schemeClr val="tx1"/>
                </a:solidFill>
              </a:rPr>
              <a:t>Δ</a:t>
            </a:r>
            <a:r>
              <a:rPr lang="en-US" sz="1500" b="1" dirty="0">
                <a:solidFill>
                  <a:schemeClr val="tx1"/>
                </a:solidFill>
              </a:rPr>
              <a:t> between CSP &amp; OSP</a:t>
            </a:r>
            <a:endParaRPr lang="en-GB" sz="1500" b="1" dirty="0" err="1">
              <a:solidFill>
                <a:schemeClr val="tx1"/>
              </a:solidFill>
            </a:endParaRPr>
          </a:p>
        </p:txBody>
      </p:sp>
      <p:pic>
        <p:nvPicPr>
          <p:cNvPr id="27" name="Graphic 26" descr="Scientific Thought with solid fill">
            <a:extLst>
              <a:ext uri="{FF2B5EF4-FFF2-40B4-BE49-F238E27FC236}">
                <a16:creationId xmlns:a16="http://schemas.microsoft.com/office/drawing/2014/main" id="{290B8C10-2DB2-459E-8BFF-F80EE66810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0115" y="876424"/>
            <a:ext cx="465884" cy="465884"/>
          </a:xfrm>
          <a:prstGeom prst="rect">
            <a:avLst/>
          </a:prstGeom>
        </p:spPr>
      </p:pic>
      <p:pic>
        <p:nvPicPr>
          <p:cNvPr id="10" name="Graphic 9" descr="Internet with solid fill">
            <a:extLst>
              <a:ext uri="{FF2B5EF4-FFF2-40B4-BE49-F238E27FC236}">
                <a16:creationId xmlns:a16="http://schemas.microsoft.com/office/drawing/2014/main" id="{223179A7-BE41-4CBD-9780-25B4B2F6F0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19812" y="-77663"/>
            <a:ext cx="624188" cy="624188"/>
          </a:xfrm>
          <a:prstGeom prst="rect">
            <a:avLst/>
          </a:prstGeom>
        </p:spPr>
      </p:pic>
      <p:pic>
        <p:nvPicPr>
          <p:cNvPr id="9" name="Picture 8">
            <a:extLst>
              <a:ext uri="{FF2B5EF4-FFF2-40B4-BE49-F238E27FC236}">
                <a16:creationId xmlns:a16="http://schemas.microsoft.com/office/drawing/2014/main" id="{4CDFC4E2-0335-4EE3-8389-76A112777AA2}"/>
              </a:ext>
            </a:extLst>
          </p:cNvPr>
          <p:cNvPicPr>
            <a:picLocks noChangeAspect="1"/>
          </p:cNvPicPr>
          <p:nvPr/>
        </p:nvPicPr>
        <p:blipFill>
          <a:blip r:embed="rId6"/>
          <a:stretch>
            <a:fillRect/>
          </a:stretch>
        </p:blipFill>
        <p:spPr>
          <a:xfrm>
            <a:off x="600115" y="2162691"/>
            <a:ext cx="3906335" cy="2362200"/>
          </a:xfrm>
          <a:prstGeom prst="rect">
            <a:avLst/>
          </a:prstGeom>
        </p:spPr>
      </p:pic>
      <p:pic>
        <p:nvPicPr>
          <p:cNvPr id="12" name="Picture 11">
            <a:extLst>
              <a:ext uri="{FF2B5EF4-FFF2-40B4-BE49-F238E27FC236}">
                <a16:creationId xmlns:a16="http://schemas.microsoft.com/office/drawing/2014/main" id="{BD9ACDF7-C14E-4275-962B-4FFAAC0A713F}"/>
              </a:ext>
            </a:extLst>
          </p:cNvPr>
          <p:cNvPicPr>
            <a:picLocks noChangeAspect="1"/>
          </p:cNvPicPr>
          <p:nvPr/>
        </p:nvPicPr>
        <p:blipFill>
          <a:blip r:embed="rId7"/>
          <a:stretch>
            <a:fillRect/>
          </a:stretch>
        </p:blipFill>
        <p:spPr>
          <a:xfrm>
            <a:off x="4733885" y="2114985"/>
            <a:ext cx="3678595" cy="2400300"/>
          </a:xfrm>
          <a:prstGeom prst="rect">
            <a:avLst/>
          </a:prstGeom>
        </p:spPr>
      </p:pic>
      <p:sp>
        <p:nvSpPr>
          <p:cNvPr id="17" name="Rectangle 16">
            <a:extLst>
              <a:ext uri="{FF2B5EF4-FFF2-40B4-BE49-F238E27FC236}">
                <a16:creationId xmlns:a16="http://schemas.microsoft.com/office/drawing/2014/main" id="{2A75BFD1-3ABF-416B-81E2-F999D4D8341C}"/>
              </a:ext>
            </a:extLst>
          </p:cNvPr>
          <p:cNvSpPr/>
          <p:nvPr/>
        </p:nvSpPr>
        <p:spPr>
          <a:xfrm>
            <a:off x="6367441" y="2625943"/>
            <a:ext cx="540688" cy="1898948"/>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18" name="Rectangle 17">
            <a:extLst>
              <a:ext uri="{FF2B5EF4-FFF2-40B4-BE49-F238E27FC236}">
                <a16:creationId xmlns:a16="http://schemas.microsoft.com/office/drawing/2014/main" id="{6896A020-1DB3-4625-A055-0019EF707D28}"/>
              </a:ext>
            </a:extLst>
          </p:cNvPr>
          <p:cNvSpPr/>
          <p:nvPr/>
        </p:nvSpPr>
        <p:spPr>
          <a:xfrm>
            <a:off x="4988281" y="2624288"/>
            <a:ext cx="540688" cy="1898948"/>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19" name="Rectangle 18">
            <a:extLst>
              <a:ext uri="{FF2B5EF4-FFF2-40B4-BE49-F238E27FC236}">
                <a16:creationId xmlns:a16="http://schemas.microsoft.com/office/drawing/2014/main" id="{89F1B9B1-43C7-4535-BF7A-1DF8DE327EA6}"/>
              </a:ext>
            </a:extLst>
          </p:cNvPr>
          <p:cNvSpPr/>
          <p:nvPr/>
        </p:nvSpPr>
        <p:spPr>
          <a:xfrm>
            <a:off x="961880" y="2492096"/>
            <a:ext cx="540688" cy="1898948"/>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sp>
        <p:nvSpPr>
          <p:cNvPr id="20" name="Rectangle 19">
            <a:extLst>
              <a:ext uri="{FF2B5EF4-FFF2-40B4-BE49-F238E27FC236}">
                <a16:creationId xmlns:a16="http://schemas.microsoft.com/office/drawing/2014/main" id="{C757CC63-335D-49F4-AFB3-1263B2C0ACB9}"/>
              </a:ext>
            </a:extLst>
          </p:cNvPr>
          <p:cNvSpPr/>
          <p:nvPr/>
        </p:nvSpPr>
        <p:spPr>
          <a:xfrm>
            <a:off x="1901326" y="2492096"/>
            <a:ext cx="540688" cy="1898948"/>
          </a:xfrm>
          <a:prstGeom prst="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dirty="0"/>
          </a:p>
        </p:txBody>
      </p:sp>
      <p:pic>
        <p:nvPicPr>
          <p:cNvPr id="14" name="Picture 13" descr="insights-icon - GeoPoll">
            <a:extLst>
              <a:ext uri="{FF2B5EF4-FFF2-40B4-BE49-F238E27FC236}">
                <a16:creationId xmlns:a16="http://schemas.microsoft.com/office/drawing/2014/main" id="{72DE779E-DDCA-4B11-9EC0-8AF503175E8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94" y="1389993"/>
            <a:ext cx="778960" cy="77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863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84</Words>
  <Application>Microsoft Office PowerPoint</Application>
  <PresentationFormat>On-screen Show (16:9)</PresentationFormat>
  <Paragraphs>229</Paragraphs>
  <Slides>25</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5" baseType="lpstr">
      <vt:lpstr>Arial</vt:lpstr>
      <vt:lpstr>Segoe UI</vt:lpstr>
      <vt:lpstr>Open Sans</vt:lpstr>
      <vt:lpstr>Segoe Semibold</vt:lpstr>
      <vt:lpstr>Calibri</vt:lpstr>
      <vt:lpstr>Arial</vt:lpstr>
      <vt:lpstr>Calibri Light</vt:lpstr>
      <vt:lpstr>Lato</vt:lpstr>
      <vt:lpstr>Office Theme</vt:lpstr>
      <vt:lpstr>think-cell Slide</vt:lpstr>
      <vt:lpstr>PowerPoint Presentation</vt:lpstr>
      <vt:lpstr>THE JOURNEY</vt:lpstr>
      <vt:lpstr>PowerPoint Presentation</vt:lpstr>
      <vt:lpstr>Setting up the solution framework for success</vt:lpstr>
      <vt:lpstr>INSIGHTS</vt:lpstr>
      <vt:lpstr>Insights of Sales Volume - Price</vt:lpstr>
      <vt:lpstr>Where volume behavior ?</vt:lpstr>
      <vt:lpstr>Which volume behavior ?</vt:lpstr>
      <vt:lpstr>Price behavior ?</vt:lpstr>
      <vt:lpstr>Quadrant behavior ?</vt:lpstr>
      <vt:lpstr>Channel – Country behavior ?</vt:lpstr>
      <vt:lpstr>VOLUME – PRICE EQUATION</vt:lpstr>
      <vt:lpstr>PowerPoint Presentation</vt:lpstr>
      <vt:lpstr>Volume–Price equation deep dive</vt:lpstr>
      <vt:lpstr>SALES VOLUME – FORECASTING</vt:lpstr>
      <vt:lpstr>Sales volume forecasting deep dive</vt:lpstr>
      <vt:lpstr>Hyper-parameter objective function</vt:lpstr>
      <vt:lpstr>Sales volume forecasting results</vt:lpstr>
      <vt:lpstr>Sales volume forecasting feature importances</vt:lpstr>
      <vt:lpstr>SQLSP OPTIMIZATION</vt:lpstr>
      <vt:lpstr>Optimization Deep Dive</vt:lpstr>
      <vt:lpstr>Optimization Results  10516724 - Stores - B</vt:lpstr>
      <vt:lpstr>Optimization Results  1abf90df – Stores- B </vt:lpstr>
      <vt:lpstr>Optimization Results  29bfe91e – Stores - B </vt:lpstr>
      <vt:lpstr>Any questions ? Let’s collabora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pc</dc:creator>
  <cp:lastModifiedBy>Kishor Kukreja</cp:lastModifiedBy>
  <cp:revision>18</cp:revision>
  <dcterms:modified xsi:type="dcterms:W3CDTF">2021-12-13T21:38:07Z</dcterms:modified>
</cp:coreProperties>
</file>